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4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D0FA6844-A8D0-4F92-BB1B-EDF13E689A69}">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Lst>
        </p14:section>
        <p14:section name="Sector Shelf Price/Vol Comparison" id="{0B372442-40CD-4E44-BEE9-AFA41C75F55D}">
          <p14:sldIdLst>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Lst>
        </p14:section>
        <p14:section name="Segment Avg Price/Vol Comparison" id="{41F2E1B9-C9EA-415F-ADBA-33F49ED44C52}">
          <p14:sldIdLst>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Lst>
        </p14:section>
        <p14:section name="Segment Shelf Price/Vol Comparison" id="{811CA25E-E3A3-44D0-B0CF-81D1A431E14B}">
          <p14:sldIdLst>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 d="100"/>
          <a:sy n="10" d="100"/>
        </p:scale>
        <p:origin x="2" y="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notesMaster" Target="notesMasters/notesMaster1.xml"/><Relationship Id="rId142" Type="http://schemas.openxmlformats.org/officeDocument/2006/relationships/presProps" Target="presProps.xml"/><Relationship Id="rId143" Type="http://schemas.openxmlformats.org/officeDocument/2006/relationships/viewProps" Target="viewProps.xml"/><Relationship Id="rId144" Type="http://schemas.openxmlformats.org/officeDocument/2006/relationships/theme" Target="theme/theme1.xml"/><Relationship Id="rId145" Type="http://schemas.openxmlformats.org/officeDocument/2006/relationships/tableStyles" Target="tableStyles.xml"/><Relationship Id="rId146"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8</c:v>
                </c:pt>
                <c:pt idx="2">
                  <c:v/>
                </c:pt>
              </c:strCache>
            </c:strRef>
          </c:cat>
          <c:val>
            <c:numRef>
              <c:f>Sheet1!$B$2:$B$4</c:f>
              <c:numCache>
                <c:formatCode>General</c:formatCode>
                <c:ptCount val="3"/>
                <c:pt idx="0">
                  <c:v>5.1</c:v>
                </c:pt>
                <c:pt idx="1">
                  <c:v>28.07</c:v>
                </c:pt>
                <c:pt idx="2">
                  <c:v>5.1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8</a:t>
                    </a:r>
                  </a:p>
                  <a:p>
                    <a:r>
                      <a:t>31.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8</c:v>
                </c:pt>
                <c:pt idx="2">
                  <c:v/>
                </c:pt>
              </c:strCache>
            </c:strRef>
          </c:cat>
          <c:val>
            <c:numRef>
              <c:f>Sheet1!$C$2:$C$4</c:f>
              <c:numCache>
                <c:formatCode>General</c:formatCode>
                <c:ptCount val="3"/>
                <c:pt idx="1">
                  <c:v>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8</c:v>
                </c:pt>
                <c:pt idx="2">
                  <c:v/>
                </c:pt>
              </c:strCache>
            </c:strRef>
          </c:cat>
          <c:val>
            <c:numRef>
              <c:f>Sheet1!$D$2:$D$4</c:f>
              <c:numCache>
                <c:formatCode>General</c:formatCode>
                <c:ptCount val="3"/>
                <c:pt idx="0">
                  <c:v>5.73</c:v>
                </c:pt>
                <c:pt idx="2">
                  <c:v>3.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fgv</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8</c:v>
                </c:pt>
                <c:pt idx="2">
                  <c:v/>
                </c:pt>
              </c:strCache>
            </c:strRef>
          </c:cat>
          <c:val>
            <c:numRef>
              <c:f>Sheet1!$E$2:$E$4</c:f>
              <c:numCache>
                <c:formatCode>General</c:formatCode>
                <c:ptCount val="3"/>
                <c:pt idx="0">
                  <c:v>1.99</c:v>
                </c:pt>
                <c:pt idx="1">
                  <c:v>29.2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ardin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8</c:v>
                </c:pt>
                <c:pt idx="2">
                  <c:v/>
                </c:pt>
              </c:strCache>
            </c:strRef>
          </c:cat>
          <c:val>
            <c:numRef>
              <c:f>Sheet1!$F$2:$F$4</c:f>
              <c:numCache>
                <c:formatCode>General</c:formatCode>
                <c:ptCount val="3"/>
                <c:pt idx="2">
                  <c:v>4.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0042"/>
          <c:min val="1.49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8.76</c:v>
                </c:pt>
                <c:pt idx="1">
                  <c:v>13.7</c:v>
                </c:pt>
                <c:pt idx="2">
                  <c:v>2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2.5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2.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4.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2">
                  <c:v>15.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1">
                  <c:v>17.93</c:v>
                </c:pt>
                <c:pt idx="2">
                  <c:v>3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5.0249"/>
          <c:min val="13.19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IX 111</c:v>
                </c:pt>
                <c:pt idx="4">
                  <c:v/>
                </c:pt>
                <c:pt idx="5">
                  <c:v/>
                </c:pt>
              </c:strCache>
            </c:strRef>
          </c:cat>
          <c:val>
            <c:numRef>
              <c:f>Sheet1!$B$2:$B$7</c:f>
              <c:numCache>
                <c:formatCode>General</c:formatCode>
                <c:ptCount val="6"/>
                <c:pt idx="0">
                  <c:v>51.91</c:v>
                </c:pt>
                <c:pt idx="1">
                  <c:v>95.07</c:v>
                </c:pt>
                <c:pt idx="2">
                  <c:v>71.44</c:v>
                </c:pt>
                <c:pt idx="3">
                  <c:v>39.95</c:v>
                </c:pt>
                <c:pt idx="4">
                  <c:v>44.06</c:v>
                </c:pt>
                <c:pt idx="5">
                  <c:v>181.4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54</a:t>
                    </a:r>
                  </a:p>
                </c:rich>
              </c:tx>
              <c:dLblPos val="l"/>
              <c:showLegendKey val="0"/>
              <c:showVal val="1"/>
              <c:showCatName val="0"/>
              <c:showSerName val="0"/>
              <c:showPercent val="0"/>
              <c:showBubbleSize val="0"/>
            </c:dLbl>
            <c:dLbl>
              <c:idx val="1"/>
              <c:tx>
                <c:rich>
                  <a:bodyPr/>
                  <a:lstStyle/>
                  <a:p>
                    <a:r>
                      <a:t>IX 43</a:t>
                    </a:r>
                  </a:p>
                  <a:p>
                    <a:r>
                      <a:t>55.41</a:t>
                    </a:r>
                  </a:p>
                </c:rich>
              </c:tx>
              <c:dLblPos val="l"/>
              <c:showLegendKey val="0"/>
              <c:showVal val="1"/>
              <c:showCatName val="0"/>
              <c:showSerName val="0"/>
              <c:showPercent val="0"/>
              <c:showBubbleSize val="0"/>
            </c:dLbl>
            <c:dLbl>
              <c:idx val="2"/>
              <c:tx>
                <c:rich>
                  <a:bodyPr/>
                  <a:lstStyle/>
                  <a:p>
                    <a:r>
                      <a:t>IX 31</a:t>
                    </a:r>
                  </a:p>
                  <a:p>
                    <a:r>
                      <a:t>38.72</a:t>
                    </a:r>
                  </a:p>
                </c:rich>
              </c:tx>
              <c:dLblPos val="l"/>
              <c:showLegendKey val="0"/>
              <c:showVal val="1"/>
              <c:showCatName val="0"/>
              <c:showSerName val="0"/>
              <c:showPercent val="0"/>
              <c:showBubbleSize val="0"/>
            </c:dLbl>
            <c:dLbl>
              <c:idx val="3"/>
              <c:tx>
                <c:rich>
                  <a:bodyPr/>
                  <a:lstStyle/>
                  <a:p>
                    <a:r>
                      <a:t>IX 111</a:t>
                    </a:r>
                  </a:p>
                  <a:p>
                    <a:r>
                      <a:t>43.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IX 111</c:v>
                </c:pt>
                <c:pt idx="4">
                  <c:v/>
                </c:pt>
                <c:pt idx="5">
                  <c:v/>
                </c:pt>
              </c:strCache>
            </c:strRef>
          </c:cat>
          <c:val>
            <c:numRef>
              <c:f>Sheet1!$C$2:$C$7</c:f>
              <c:numCache>
                <c:formatCode>General</c:formatCode>
                <c:ptCount val="6"/>
                <c:pt idx="0">
                  <c:v>29.54</c:v>
                </c:pt>
                <c:pt idx="1">
                  <c:v>55.41</c:v>
                </c:pt>
                <c:pt idx="2">
                  <c:v>38.72</c:v>
                </c:pt>
                <c:pt idx="3">
                  <c:v>43.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IX 111</c:v>
                </c:pt>
                <c:pt idx="4">
                  <c:v/>
                </c:pt>
                <c:pt idx="5">
                  <c:v/>
                </c:pt>
              </c:strCache>
            </c:strRef>
          </c:cat>
          <c:val>
            <c:numRef>
              <c:f>Sheet1!$D$2:$D$7</c:f>
              <c:numCache>
                <c:formatCode>General</c:formatCode>
                <c:ptCount val="6"/>
                <c:pt idx="0">
                  <c:v>75.4</c:v>
                </c:pt>
                <c:pt idx="1">
                  <c:v>129.82</c:v>
                </c:pt>
                <c:pt idx="2">
                  <c:v>123.95</c:v>
                </c:pt>
                <c:pt idx="5">
                  <c:v>123.8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IX 111</c:v>
                </c:pt>
                <c:pt idx="4">
                  <c:v/>
                </c:pt>
                <c:pt idx="5">
                  <c:v/>
                </c:pt>
              </c:strCache>
            </c:strRef>
          </c:cat>
          <c:val>
            <c:numRef>
              <c:f>Sheet1!$E$2:$E$7</c:f>
              <c:numCache>
                <c:formatCode>General</c:formatCode>
                <c:ptCount val="6"/>
                <c:pt idx="0">
                  <c:v>46.41</c:v>
                </c:pt>
                <c:pt idx="2">
                  <c:v>50.18</c:v>
                </c:pt>
                <c:pt idx="4">
                  <c:v>4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IX 111</c:v>
                </c:pt>
                <c:pt idx="4">
                  <c:v/>
                </c:pt>
                <c:pt idx="5">
                  <c:v/>
                </c:pt>
              </c:strCache>
            </c:strRef>
          </c:cat>
          <c:val>
            <c:numRef>
              <c:f>Sheet1!$F$2:$F$7</c:f>
              <c:numCache>
                <c:formatCode>General</c:formatCode>
                <c:ptCount val="6"/>
                <c:pt idx="1">
                  <c:v>46.96</c:v>
                </c:pt>
                <c:pt idx="2">
                  <c:v>48.12</c:v>
                </c:pt>
                <c:pt idx="3">
                  <c:v>39.47</c:v>
                </c:pt>
                <c:pt idx="5">
                  <c:v>49.5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9841"/>
          <c:min val="29.04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1</c:v>
                </c:pt>
                <c:pt idx="3">
                  <c:v>IX 108</c:v>
                </c:pt>
                <c:pt idx="4">
                  <c:v/>
                </c:pt>
                <c:pt idx="5">
                  <c:v/>
                </c:pt>
              </c:strCache>
            </c:strRef>
          </c:cat>
          <c:val>
            <c:numRef>
              <c:f>Sheet1!$B$2:$B$7</c:f>
              <c:numCache>
                <c:formatCode>General</c:formatCode>
                <c:ptCount val="6"/>
                <c:pt idx="0">
                  <c:v>52.09</c:v>
                </c:pt>
                <c:pt idx="1">
                  <c:v>96.24</c:v>
                </c:pt>
                <c:pt idx="2">
                  <c:v>70.82</c:v>
                </c:pt>
                <c:pt idx="3">
                  <c:v>40.06</c:v>
                </c:pt>
                <c:pt idx="4">
                  <c:v>44.02</c:v>
                </c:pt>
                <c:pt idx="5">
                  <c:v>169.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76</a:t>
                    </a:r>
                  </a:p>
                </c:rich>
              </c:tx>
              <c:dLblPos val="l"/>
              <c:showLegendKey val="0"/>
              <c:showVal val="1"/>
              <c:showCatName val="0"/>
              <c:showSerName val="0"/>
              <c:showPercent val="0"/>
              <c:showBubbleSize val="0"/>
            </c:dLbl>
            <c:dLbl>
              <c:idx val="1"/>
              <c:tx>
                <c:rich>
                  <a:bodyPr/>
                  <a:lstStyle/>
                  <a:p>
                    <a:r>
                      <a:t>IX 42</a:t>
                    </a:r>
                  </a:p>
                  <a:p>
                    <a:r>
                      <a:t>54.81</a:t>
                    </a:r>
                  </a:p>
                </c:rich>
              </c:tx>
              <c:dLblPos val="l"/>
              <c:showLegendKey val="0"/>
              <c:showVal val="1"/>
              <c:showCatName val="0"/>
              <c:showSerName val="0"/>
              <c:showPercent val="0"/>
              <c:showBubbleSize val="0"/>
            </c:dLbl>
            <c:dLbl>
              <c:idx val="2"/>
              <c:tx>
                <c:rich>
                  <a:bodyPr/>
                  <a:lstStyle/>
                  <a:p>
                    <a:r>
                      <a:t>IX 31</a:t>
                    </a:r>
                  </a:p>
                  <a:p>
                    <a:r>
                      <a:t>38.19</a:t>
                    </a:r>
                  </a:p>
                </c:rich>
              </c:tx>
              <c:dLblPos val="l"/>
              <c:showLegendKey val="0"/>
              <c:showVal val="1"/>
              <c:showCatName val="0"/>
              <c:showSerName val="0"/>
              <c:showPercent val="0"/>
              <c:showBubbleSize val="0"/>
            </c:dLbl>
            <c:dLbl>
              <c:idx val="3"/>
              <c:tx>
                <c:rich>
                  <a:bodyPr/>
                  <a:lstStyle/>
                  <a:p>
                    <a:r>
                      <a:t>IX 108</a:t>
                    </a:r>
                  </a:p>
                  <a:p>
                    <a:r>
                      <a:t>42.75</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1</c:v>
                </c:pt>
                <c:pt idx="3">
                  <c:v>IX 108</c:v>
                </c:pt>
                <c:pt idx="4">
                  <c:v/>
                </c:pt>
                <c:pt idx="5">
                  <c:v/>
                </c:pt>
              </c:strCache>
            </c:strRef>
          </c:cat>
          <c:val>
            <c:numRef>
              <c:f>Sheet1!$C$2:$C$7</c:f>
              <c:numCache>
                <c:formatCode>General</c:formatCode>
                <c:ptCount val="6"/>
                <c:pt idx="0">
                  <c:v>29.76</c:v>
                </c:pt>
                <c:pt idx="1">
                  <c:v>54.81</c:v>
                </c:pt>
                <c:pt idx="2">
                  <c:v>38.19</c:v>
                </c:pt>
                <c:pt idx="3">
                  <c:v>42.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1</c:v>
                </c:pt>
                <c:pt idx="3">
                  <c:v>IX 108</c:v>
                </c:pt>
                <c:pt idx="4">
                  <c:v/>
                </c:pt>
                <c:pt idx="5">
                  <c:v/>
                </c:pt>
              </c:strCache>
            </c:strRef>
          </c:cat>
          <c:val>
            <c:numRef>
              <c:f>Sheet1!$D$2:$D$7</c:f>
              <c:numCache>
                <c:formatCode>General</c:formatCode>
                <c:ptCount val="6"/>
                <c:pt idx="0">
                  <c:v>75.03</c:v>
                </c:pt>
                <c:pt idx="1">
                  <c:v>129.67</c:v>
                </c:pt>
                <c:pt idx="2">
                  <c:v>123.1</c:v>
                </c:pt>
                <c:pt idx="5">
                  <c:v>120.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1</c:v>
                </c:pt>
                <c:pt idx="3">
                  <c:v>IX 108</c:v>
                </c:pt>
                <c:pt idx="4">
                  <c:v/>
                </c:pt>
                <c:pt idx="5">
                  <c:v/>
                </c:pt>
              </c:strCache>
            </c:strRef>
          </c:cat>
          <c:val>
            <c:numRef>
              <c:f>Sheet1!$E$2:$E$7</c:f>
              <c:numCache>
                <c:formatCode>General</c:formatCode>
                <c:ptCount val="6"/>
                <c:pt idx="0">
                  <c:v>46.1</c:v>
                </c:pt>
                <c:pt idx="2">
                  <c:v>50.31</c:v>
                </c:pt>
                <c:pt idx="4">
                  <c:v>41.4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1</c:v>
                </c:pt>
                <c:pt idx="3">
                  <c:v>IX 108</c:v>
                </c:pt>
                <c:pt idx="4">
                  <c:v/>
                </c:pt>
                <c:pt idx="5">
                  <c:v/>
                </c:pt>
              </c:strCache>
            </c:strRef>
          </c:cat>
          <c:val>
            <c:numRef>
              <c:f>Sheet1!$F$2:$F$7</c:f>
              <c:numCache>
                <c:formatCode>General</c:formatCode>
                <c:ptCount val="6"/>
                <c:pt idx="0">
                  <c:v>73.33</c:v>
                </c:pt>
                <c:pt idx="1">
                  <c:v>47.12</c:v>
                </c:pt>
                <c:pt idx="2">
                  <c:v>48.51</c:v>
                </c:pt>
                <c:pt idx="3">
                  <c:v>39.52</c:v>
                </c:pt>
                <c:pt idx="4">
                  <c:v>29.0</c:v>
                </c:pt>
                <c:pt idx="5">
                  <c:v>49.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9.5966"/>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07</c:v>
                </c:pt>
                <c:pt idx="4">
                  <c:v/>
                </c:pt>
                <c:pt idx="5">
                  <c:v/>
                </c:pt>
              </c:strCache>
            </c:strRef>
          </c:cat>
          <c:val>
            <c:numRef>
              <c:f>Sheet1!$B$2:$B$7</c:f>
              <c:numCache>
                <c:formatCode>General</c:formatCode>
                <c:ptCount val="6"/>
                <c:pt idx="0">
                  <c:v>51.55</c:v>
                </c:pt>
                <c:pt idx="1">
                  <c:v>91.79</c:v>
                </c:pt>
                <c:pt idx="2">
                  <c:v>69.8</c:v>
                </c:pt>
                <c:pt idx="3">
                  <c:v>40.03</c:v>
                </c:pt>
                <c:pt idx="4">
                  <c:v>44.42</c:v>
                </c:pt>
                <c:pt idx="5">
                  <c:v>139.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58</a:t>
                    </a:r>
                  </a:p>
                </c:rich>
              </c:tx>
              <c:dLblPos val="l"/>
              <c:showLegendKey val="0"/>
              <c:showVal val="1"/>
              <c:showCatName val="0"/>
              <c:showSerName val="0"/>
              <c:showPercent val="0"/>
              <c:showBubbleSize val="0"/>
            </c:dLbl>
            <c:dLbl>
              <c:idx val="1"/>
              <c:tx>
                <c:rich>
                  <a:bodyPr/>
                  <a:lstStyle/>
                  <a:p>
                    <a:r>
                      <a:t>IX 42</a:t>
                    </a:r>
                  </a:p>
                  <a:p>
                    <a:r>
                      <a:t>54.84</a:t>
                    </a:r>
                  </a:p>
                </c:rich>
              </c:tx>
              <c:dLblPos val="l"/>
              <c:showLegendKey val="0"/>
              <c:showVal val="1"/>
              <c:showCatName val="0"/>
              <c:showSerName val="0"/>
              <c:showPercent val="0"/>
              <c:showBubbleSize val="0"/>
            </c:dLbl>
            <c:dLbl>
              <c:idx val="2"/>
              <c:tx>
                <c:rich>
                  <a:bodyPr/>
                  <a:lstStyle/>
                  <a:p>
                    <a:r>
                      <a:t>IX 30</a:t>
                    </a:r>
                  </a:p>
                  <a:p>
                    <a:r>
                      <a:t>37.56</a:t>
                    </a:r>
                  </a:p>
                </c:rich>
              </c:tx>
              <c:dLblPos val="l"/>
              <c:showLegendKey val="0"/>
              <c:showVal val="1"/>
              <c:showCatName val="0"/>
              <c:showSerName val="0"/>
              <c:showPercent val="0"/>
              <c:showBubbleSize val="0"/>
            </c:dLbl>
            <c:dLbl>
              <c:idx val="3"/>
              <c:tx>
                <c:rich>
                  <a:bodyPr/>
                  <a:lstStyle/>
                  <a:p>
                    <a:r>
                      <a:t>IX 107</a:t>
                    </a:r>
                  </a:p>
                  <a:p>
                    <a:r>
                      <a:t>42.4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07</c:v>
                </c:pt>
                <c:pt idx="4">
                  <c:v/>
                </c:pt>
                <c:pt idx="5">
                  <c:v/>
                </c:pt>
              </c:strCache>
            </c:strRef>
          </c:cat>
          <c:val>
            <c:numRef>
              <c:f>Sheet1!$C$2:$C$7</c:f>
              <c:numCache>
                <c:formatCode>General</c:formatCode>
                <c:ptCount val="6"/>
                <c:pt idx="0">
                  <c:v>29.58</c:v>
                </c:pt>
                <c:pt idx="1">
                  <c:v>54.84</c:v>
                </c:pt>
                <c:pt idx="2">
                  <c:v>37.56</c:v>
                </c:pt>
                <c:pt idx="3">
                  <c:v>42.4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07</c:v>
                </c:pt>
                <c:pt idx="4">
                  <c:v/>
                </c:pt>
                <c:pt idx="5">
                  <c:v/>
                </c:pt>
              </c:strCache>
            </c:strRef>
          </c:cat>
          <c:val>
            <c:numRef>
              <c:f>Sheet1!$D$2:$D$7</c:f>
              <c:numCache>
                <c:formatCode>General</c:formatCode>
                <c:ptCount val="6"/>
                <c:pt idx="0">
                  <c:v>74.89</c:v>
                </c:pt>
                <c:pt idx="1">
                  <c:v>129.56</c:v>
                </c:pt>
                <c:pt idx="2">
                  <c:v>123.35</c:v>
                </c:pt>
                <c:pt idx="5">
                  <c:v>114.8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07</c:v>
                </c:pt>
                <c:pt idx="4">
                  <c:v/>
                </c:pt>
                <c:pt idx="5">
                  <c:v/>
                </c:pt>
              </c:strCache>
            </c:strRef>
          </c:cat>
          <c:val>
            <c:numRef>
              <c:f>Sheet1!$E$2:$E$7</c:f>
              <c:numCache>
                <c:formatCode>General</c:formatCode>
                <c:ptCount val="6"/>
                <c:pt idx="0">
                  <c:v>46.27</c:v>
                </c:pt>
                <c:pt idx="2">
                  <c:v>50.54</c:v>
                </c:pt>
                <c:pt idx="4">
                  <c:v>42.0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07</c:v>
                </c:pt>
                <c:pt idx="4">
                  <c:v/>
                </c:pt>
                <c:pt idx="5">
                  <c:v/>
                </c:pt>
              </c:strCache>
            </c:strRef>
          </c:cat>
          <c:val>
            <c:numRef>
              <c:f>Sheet1!$F$2:$F$7</c:f>
              <c:numCache>
                <c:formatCode>General</c:formatCode>
                <c:ptCount val="6"/>
                <c:pt idx="1">
                  <c:v>47.09</c:v>
                </c:pt>
                <c:pt idx="2">
                  <c:v>48.57</c:v>
                </c:pt>
                <c:pt idx="3">
                  <c:v>39.48</c:v>
                </c:pt>
                <c:pt idx="5">
                  <c:v>50.1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0.18"/>
          <c:min val="29.08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2</c:v>
                </c:pt>
                <c:pt idx="1">
                  <c:v>IX 46</c:v>
                </c:pt>
                <c:pt idx="2">
                  <c:v>IX 41</c:v>
                </c:pt>
                <c:pt idx="3">
                  <c:v/>
                </c:pt>
                <c:pt idx="4">
                  <c:v>IX 112</c:v>
                </c:pt>
                <c:pt idx="5">
                  <c:v/>
                </c:pt>
              </c:strCache>
            </c:strRef>
          </c:cat>
          <c:val>
            <c:numRef>
              <c:f>Sheet1!$B$2:$B$7</c:f>
              <c:numCache>
                <c:formatCode>General</c:formatCode>
                <c:ptCount val="6"/>
                <c:pt idx="0">
                  <c:v>26.26</c:v>
                </c:pt>
                <c:pt idx="1">
                  <c:v>41.82</c:v>
                </c:pt>
                <c:pt idx="2">
                  <c:v>68.85</c:v>
                </c:pt>
                <c:pt idx="3">
                  <c:v>43.27</c:v>
                </c:pt>
                <c:pt idx="4">
                  <c:v>44.69</c:v>
                </c:pt>
                <c:pt idx="5">
                  <c:v>199.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2</a:t>
                    </a:r>
                  </a:p>
                  <a:p>
                    <a:r>
                      <a:t>30.16</a:t>
                    </a:r>
                  </a:p>
                </c:rich>
              </c:tx>
              <c:dLblPos val="l"/>
              <c:showLegendKey val="0"/>
              <c:showVal val="1"/>
              <c:showCatName val="0"/>
              <c:showSerName val="0"/>
              <c:showPercent val="0"/>
              <c:showBubbleSize val="0"/>
            </c:dLbl>
            <c:dLbl>
              <c:idx val="1"/>
              <c:tx>
                <c:rich>
                  <a:bodyPr/>
                  <a:lstStyle/>
                  <a:p>
                    <a:r>
                      <a:t>IX 46</a:t>
                    </a:r>
                  </a:p>
                  <a:p>
                    <a:r>
                      <a:t>38.0</a:t>
                    </a:r>
                  </a:p>
                </c:rich>
              </c:tx>
              <c:dLblPos val="l"/>
              <c:showLegendKey val="0"/>
              <c:showVal val="1"/>
              <c:showCatName val="0"/>
              <c:showSerName val="0"/>
              <c:showPercent val="0"/>
              <c:showBubbleSize val="0"/>
            </c:dLbl>
            <c:dLbl>
              <c:idx val="2"/>
              <c:tx>
                <c:rich>
                  <a:bodyPr/>
                  <a:lstStyle/>
                  <a:p>
                    <a:r>
                      <a:t>IX 41</a:t>
                    </a:r>
                  </a:p>
                  <a:p>
                    <a:r>
                      <a:t>53.6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2</a:t>
                    </a:r>
                  </a:p>
                  <a:p>
                    <a:r>
                      <a:t>49.9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2</c:v>
                </c:pt>
                <c:pt idx="1">
                  <c:v>IX 46</c:v>
                </c:pt>
                <c:pt idx="2">
                  <c:v>IX 41</c:v>
                </c:pt>
                <c:pt idx="3">
                  <c:v/>
                </c:pt>
                <c:pt idx="4">
                  <c:v>IX 112</c:v>
                </c:pt>
                <c:pt idx="5">
                  <c:v/>
                </c:pt>
              </c:strCache>
            </c:strRef>
          </c:cat>
          <c:val>
            <c:numRef>
              <c:f>Sheet1!$C$2:$C$7</c:f>
              <c:numCache>
                <c:formatCode>General</c:formatCode>
                <c:ptCount val="6"/>
                <c:pt idx="0">
                  <c:v>30.16</c:v>
                </c:pt>
                <c:pt idx="1">
                  <c:v>38.0</c:v>
                </c:pt>
                <c:pt idx="2">
                  <c:v>53.63</c:v>
                </c:pt>
                <c:pt idx="4">
                  <c:v>49.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2</c:v>
                </c:pt>
                <c:pt idx="1">
                  <c:v>IX 46</c:v>
                </c:pt>
                <c:pt idx="2">
                  <c:v>IX 41</c:v>
                </c:pt>
                <c:pt idx="3">
                  <c:v/>
                </c:pt>
                <c:pt idx="4">
                  <c:v>IX 112</c:v>
                </c:pt>
                <c:pt idx="5">
                  <c:v/>
                </c:pt>
              </c:strCache>
            </c:strRef>
          </c:cat>
          <c:val>
            <c:numRef>
              <c:f>Sheet1!$D$2:$D$7</c:f>
              <c:numCache>
                <c:formatCode>General</c:formatCode>
                <c:ptCount val="6"/>
                <c:pt idx="0">
                  <c:v>58.41</c:v>
                </c:pt>
                <c:pt idx="1">
                  <c:v>81.89</c:v>
                </c:pt>
                <c:pt idx="2">
                  <c:v>129.84</c:v>
                </c:pt>
                <c:pt idx="3">
                  <c:v>62.38</c:v>
                </c:pt>
                <c:pt idx="5">
                  <c:v>256.7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mp;C Sas Fra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2</c:v>
                </c:pt>
                <c:pt idx="1">
                  <c:v>IX 46</c:v>
                </c:pt>
                <c:pt idx="2">
                  <c:v>IX 41</c:v>
                </c:pt>
                <c:pt idx="3">
                  <c:v/>
                </c:pt>
                <c:pt idx="4">
                  <c:v>IX 112</c:v>
                </c:pt>
                <c:pt idx="5">
                  <c:v/>
                </c:pt>
              </c:strCache>
            </c:strRef>
          </c:cat>
          <c:val>
            <c:numRef>
              <c:f>Sheet1!$E$2:$E$7</c:f>
              <c:numCache>
                <c:formatCode>General</c:formatCode>
                <c:ptCount val="6"/>
                <c:pt idx="0">
                  <c:v>32.32</c:v>
                </c:pt>
                <c:pt idx="1">
                  <c:v>38.15</c:v>
                </c:pt>
                <c:pt idx="2">
                  <c:v>40.95</c:v>
                </c:pt>
                <c:pt idx="3">
                  <c:v>40.29</c:v>
                </c:pt>
                <c:pt idx="5">
                  <c:v>110.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2</c:v>
                </c:pt>
                <c:pt idx="1">
                  <c:v>IX 46</c:v>
                </c:pt>
                <c:pt idx="2">
                  <c:v>IX 41</c:v>
                </c:pt>
                <c:pt idx="3">
                  <c:v/>
                </c:pt>
                <c:pt idx="4">
                  <c:v>IX 112</c:v>
                </c:pt>
                <c:pt idx="5">
                  <c:v/>
                </c:pt>
              </c:strCache>
            </c:strRef>
          </c:cat>
          <c:val>
            <c:numRef>
              <c:f>Sheet1!$F$2:$F$7</c:f>
              <c:numCache>
                <c:formatCode>General</c:formatCode>
                <c:ptCount val="6"/>
                <c:pt idx="0">
                  <c:v>29.47</c:v>
                </c:pt>
                <c:pt idx="1">
                  <c:v>33.07</c:v>
                </c:pt>
                <c:pt idx="2">
                  <c:v>50.91</c:v>
                </c:pt>
                <c:pt idx="3">
                  <c:v>29.0</c:v>
                </c:pt>
                <c:pt idx="4">
                  <c:v>44.62</c:v>
                </c:pt>
                <c:pt idx="5">
                  <c:v>52.9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7.2911"/>
          <c:min val="25.75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7</c:v>
                </c:pt>
                <c:pt idx="3">
                  <c:v>IX 97</c:v>
                </c:pt>
                <c:pt idx="4">
                  <c:v/>
                </c:pt>
                <c:pt idx="5">
                  <c:v/>
                </c:pt>
              </c:strCache>
            </c:strRef>
          </c:cat>
          <c:val>
            <c:numRef>
              <c:f>Sheet1!$B$2:$B$7</c:f>
              <c:numCache>
                <c:formatCode>General</c:formatCode>
                <c:ptCount val="6"/>
                <c:pt idx="0">
                  <c:v>56.76</c:v>
                </c:pt>
                <c:pt idx="1">
                  <c:v>101.68</c:v>
                </c:pt>
                <c:pt idx="2">
                  <c:v>77.29</c:v>
                </c:pt>
                <c:pt idx="3">
                  <c:v>44.4</c:v>
                </c:pt>
                <c:pt idx="4">
                  <c:v>196.11</c:v>
                </c:pt>
                <c:pt idx="5">
                  <c:v>51.1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13</a:t>
                    </a:r>
                  </a:p>
                </c:rich>
              </c:tx>
              <c:dLblPos val="l"/>
              <c:showLegendKey val="0"/>
              <c:showVal val="1"/>
              <c:showCatName val="0"/>
              <c:showSerName val="0"/>
              <c:showPercent val="0"/>
              <c:showBubbleSize val="0"/>
            </c:dLbl>
            <c:dLbl>
              <c:idx val="1"/>
              <c:tx>
                <c:rich>
                  <a:bodyPr/>
                  <a:lstStyle/>
                  <a:p>
                    <a:r>
                      <a:t>IX 41</a:t>
                    </a:r>
                  </a:p>
                  <a:p>
                    <a:r>
                      <a:t>53.04</a:t>
                    </a:r>
                  </a:p>
                </c:rich>
              </c:tx>
              <c:dLblPos val="l"/>
              <c:showLegendKey val="0"/>
              <c:showVal val="1"/>
              <c:showCatName val="0"/>
              <c:showSerName val="0"/>
              <c:showPercent val="0"/>
              <c:showBubbleSize val="0"/>
            </c:dLbl>
            <c:dLbl>
              <c:idx val="2"/>
              <c:tx>
                <c:rich>
                  <a:bodyPr/>
                  <a:lstStyle/>
                  <a:p>
                    <a:r>
                      <a:t>IX 27</a:t>
                    </a:r>
                  </a:p>
                  <a:p>
                    <a:r>
                      <a:t>37.73</a:t>
                    </a:r>
                  </a:p>
                </c:rich>
              </c:tx>
              <c:dLblPos val="l"/>
              <c:showLegendKey val="0"/>
              <c:showVal val="1"/>
              <c:showCatName val="0"/>
              <c:showSerName val="0"/>
              <c:showPercent val="0"/>
              <c:showBubbleSize val="0"/>
            </c:dLbl>
            <c:dLbl>
              <c:idx val="3"/>
              <c:tx>
                <c:rich>
                  <a:bodyPr/>
                  <a:lstStyle/>
                  <a:p>
                    <a:r>
                      <a:t>IX 97</a:t>
                    </a:r>
                  </a:p>
                  <a:p>
                    <a:r>
                      <a:t>43.4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7</c:v>
                </c:pt>
                <c:pt idx="3">
                  <c:v>IX 97</c:v>
                </c:pt>
                <c:pt idx="4">
                  <c:v/>
                </c:pt>
                <c:pt idx="5">
                  <c:v/>
                </c:pt>
              </c:strCache>
            </c:strRef>
          </c:cat>
          <c:val>
            <c:numRef>
              <c:f>Sheet1!$C$2:$C$7</c:f>
              <c:numCache>
                <c:formatCode>General</c:formatCode>
                <c:ptCount val="6"/>
                <c:pt idx="0">
                  <c:v>30.13</c:v>
                </c:pt>
                <c:pt idx="1">
                  <c:v>53.04</c:v>
                </c:pt>
                <c:pt idx="2">
                  <c:v>37.73</c:v>
                </c:pt>
                <c:pt idx="3">
                  <c:v>43.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7</c:v>
                </c:pt>
                <c:pt idx="3">
                  <c:v>IX 97</c:v>
                </c:pt>
                <c:pt idx="4">
                  <c:v/>
                </c:pt>
                <c:pt idx="5">
                  <c:v/>
                </c:pt>
              </c:strCache>
            </c:strRef>
          </c:cat>
          <c:val>
            <c:numRef>
              <c:f>Sheet1!$D$2:$D$7</c:f>
              <c:numCache>
                <c:formatCode>General</c:formatCode>
                <c:ptCount val="6"/>
                <c:pt idx="0">
                  <c:v>81.28</c:v>
                </c:pt>
                <c:pt idx="1">
                  <c:v>130.37</c:v>
                </c:pt>
                <c:pt idx="2">
                  <c:v>140.66</c:v>
                </c:pt>
                <c:pt idx="4">
                  <c:v>254.72</c:v>
                </c:pt>
                <c:pt idx="5">
                  <c:v>61.9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7</c:v>
                </c:pt>
                <c:pt idx="3">
                  <c:v>IX 97</c:v>
                </c:pt>
                <c:pt idx="4">
                  <c:v/>
                </c:pt>
                <c:pt idx="5">
                  <c:v/>
                </c:pt>
              </c:strCache>
            </c:strRef>
          </c:cat>
          <c:val>
            <c:numRef>
              <c:f>Sheet1!$E$2:$E$7</c:f>
              <c:numCache>
                <c:formatCode>General</c:formatCode>
                <c:ptCount val="6"/>
                <c:pt idx="0">
                  <c:v>55.2</c:v>
                </c:pt>
                <c:pt idx="1">
                  <c:v>61.28</c:v>
                </c:pt>
                <c:pt idx="2">
                  <c:v>56.08</c:v>
                </c:pt>
                <c:pt idx="4">
                  <c:v>228.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7</c:v>
                </c:pt>
                <c:pt idx="3">
                  <c:v>IX 97</c:v>
                </c:pt>
                <c:pt idx="4">
                  <c:v/>
                </c:pt>
                <c:pt idx="5">
                  <c:v/>
                </c:pt>
              </c:strCache>
            </c:strRef>
          </c:cat>
          <c:val>
            <c:numRef>
              <c:f>Sheet1!$F$2:$F$7</c:f>
              <c:numCache>
                <c:formatCode>General</c:formatCode>
                <c:ptCount val="6"/>
                <c:pt idx="0">
                  <c:v>73.33</c:v>
                </c:pt>
                <c:pt idx="1">
                  <c:v>50.76</c:v>
                </c:pt>
                <c:pt idx="2">
                  <c:v>49.34</c:v>
                </c:pt>
                <c:pt idx="3">
                  <c:v>44.62</c:v>
                </c:pt>
                <c:pt idx="4">
                  <c:v>51.04</c:v>
                </c:pt>
                <c:pt idx="5">
                  <c:v>29.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5.2223"/>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6</c:v>
                </c:pt>
                <c:pt idx="3">
                  <c:v>IX 102</c:v>
                </c:pt>
                <c:pt idx="4">
                  <c:v/>
                </c:pt>
                <c:pt idx="5">
                  <c:v/>
                </c:pt>
              </c:strCache>
            </c:strRef>
          </c:cat>
          <c:val>
            <c:numRef>
              <c:f>Sheet1!$B$2:$B$7</c:f>
              <c:numCache>
                <c:formatCode>General</c:formatCode>
                <c:ptCount val="6"/>
                <c:pt idx="0">
                  <c:v>56.88</c:v>
                </c:pt>
                <c:pt idx="1">
                  <c:v>99.28</c:v>
                </c:pt>
                <c:pt idx="2">
                  <c:v>77.72</c:v>
                </c:pt>
                <c:pt idx="3">
                  <c:v>44.64</c:v>
                </c:pt>
                <c:pt idx="4">
                  <c:v>51.23</c:v>
                </c:pt>
                <c:pt idx="5">
                  <c:v>190.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22</a:t>
                    </a:r>
                  </a:p>
                </c:rich>
              </c:tx>
              <c:dLblPos val="l"/>
              <c:showLegendKey val="0"/>
              <c:showVal val="1"/>
              <c:showCatName val="0"/>
              <c:showSerName val="0"/>
              <c:showPercent val="0"/>
              <c:showBubbleSize val="0"/>
            </c:dLbl>
            <c:dLbl>
              <c:idx val="1"/>
              <c:tx>
                <c:rich>
                  <a:bodyPr/>
                  <a:lstStyle/>
                  <a:p>
                    <a:r>
                      <a:t>IX 41</a:t>
                    </a:r>
                  </a:p>
                  <a:p>
                    <a:r>
                      <a:t>53.68</a:t>
                    </a:r>
                  </a:p>
                </c:rich>
              </c:tx>
              <c:dLblPos val="l"/>
              <c:showLegendKey val="0"/>
              <c:showVal val="1"/>
              <c:showCatName val="0"/>
              <c:showSerName val="0"/>
              <c:showPercent val="0"/>
              <c:showBubbleSize val="0"/>
            </c:dLbl>
            <c:dLbl>
              <c:idx val="2"/>
              <c:tx>
                <c:rich>
                  <a:bodyPr/>
                  <a:lstStyle/>
                  <a:p>
                    <a:r>
                      <a:t>IX 26</a:t>
                    </a:r>
                  </a:p>
                  <a:p>
                    <a:r>
                      <a:t>38.24</a:t>
                    </a:r>
                  </a:p>
                </c:rich>
              </c:tx>
              <c:dLblPos val="l"/>
              <c:showLegendKey val="0"/>
              <c:showVal val="1"/>
              <c:showCatName val="0"/>
              <c:showSerName val="0"/>
              <c:showPercent val="0"/>
              <c:showBubbleSize val="0"/>
            </c:dLbl>
            <c:dLbl>
              <c:idx val="3"/>
              <c:tx>
                <c:rich>
                  <a:bodyPr/>
                  <a:lstStyle/>
                  <a:p>
                    <a:r>
                      <a:t>IX 102</a:t>
                    </a:r>
                  </a:p>
                  <a:p>
                    <a:r>
                      <a:t>45.6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6</c:v>
                </c:pt>
                <c:pt idx="3">
                  <c:v>IX 102</c:v>
                </c:pt>
                <c:pt idx="4">
                  <c:v/>
                </c:pt>
                <c:pt idx="5">
                  <c:v/>
                </c:pt>
              </c:strCache>
            </c:strRef>
          </c:cat>
          <c:val>
            <c:numRef>
              <c:f>Sheet1!$C$2:$C$7</c:f>
              <c:numCache>
                <c:formatCode>General</c:formatCode>
                <c:ptCount val="6"/>
                <c:pt idx="0">
                  <c:v>30.22</c:v>
                </c:pt>
                <c:pt idx="1">
                  <c:v>53.68</c:v>
                </c:pt>
                <c:pt idx="2">
                  <c:v>38.24</c:v>
                </c:pt>
                <c:pt idx="3">
                  <c:v>45.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6</c:v>
                </c:pt>
                <c:pt idx="3">
                  <c:v>IX 102</c:v>
                </c:pt>
                <c:pt idx="4">
                  <c:v/>
                </c:pt>
                <c:pt idx="5">
                  <c:v/>
                </c:pt>
              </c:strCache>
            </c:strRef>
          </c:cat>
          <c:val>
            <c:numRef>
              <c:f>Sheet1!$D$2:$D$7</c:f>
              <c:numCache>
                <c:formatCode>General</c:formatCode>
                <c:ptCount val="6"/>
                <c:pt idx="0">
                  <c:v>81.58</c:v>
                </c:pt>
                <c:pt idx="1">
                  <c:v>131.0</c:v>
                </c:pt>
                <c:pt idx="2">
                  <c:v>149.91</c:v>
                </c:pt>
                <c:pt idx="4">
                  <c:v>62.22</c:v>
                </c:pt>
                <c:pt idx="5">
                  <c:v>259.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6</c:v>
                </c:pt>
                <c:pt idx="3">
                  <c:v>IX 102</c:v>
                </c:pt>
                <c:pt idx="4">
                  <c:v/>
                </c:pt>
                <c:pt idx="5">
                  <c:v/>
                </c:pt>
              </c:strCache>
            </c:strRef>
          </c:cat>
          <c:val>
            <c:numRef>
              <c:f>Sheet1!$E$2:$E$7</c:f>
              <c:numCache>
                <c:formatCode>General</c:formatCode>
                <c:ptCount val="6"/>
                <c:pt idx="0">
                  <c:v>54.61</c:v>
                </c:pt>
                <c:pt idx="1">
                  <c:v>62.1</c:v>
                </c:pt>
                <c:pt idx="2">
                  <c:v>56.89</c:v>
                </c:pt>
                <c:pt idx="5">
                  <c:v>217.1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6</c:v>
                </c:pt>
                <c:pt idx="3">
                  <c:v>IX 102</c:v>
                </c:pt>
                <c:pt idx="4">
                  <c:v/>
                </c:pt>
                <c:pt idx="5">
                  <c:v/>
                </c:pt>
              </c:strCache>
            </c:strRef>
          </c:cat>
          <c:val>
            <c:numRef>
              <c:f>Sheet1!$F$2:$F$7</c:f>
              <c:numCache>
                <c:formatCode>General</c:formatCode>
                <c:ptCount val="6"/>
                <c:pt idx="1">
                  <c:v>50.98</c:v>
                </c:pt>
                <c:pt idx="2">
                  <c:v>50.75</c:v>
                </c:pt>
                <c:pt idx="3">
                  <c:v>44.7</c:v>
                </c:pt>
                <c:pt idx="4">
                  <c:v>29.0</c:v>
                </c:pt>
                <c:pt idx="5">
                  <c:v>52.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0.2052"/>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1</c:v>
                </c:pt>
                <c:pt idx="4">
                  <c:v/>
                </c:pt>
                <c:pt idx="5">
                  <c:v/>
                </c:pt>
              </c:strCache>
            </c:strRef>
          </c:cat>
          <c:val>
            <c:numRef>
              <c:f>Sheet1!$B$2:$B$7</c:f>
              <c:numCache>
                <c:formatCode>General</c:formatCode>
                <c:ptCount val="6"/>
                <c:pt idx="0">
                  <c:v>54.76</c:v>
                </c:pt>
                <c:pt idx="1">
                  <c:v>94.12</c:v>
                </c:pt>
                <c:pt idx="2">
                  <c:v>69.66</c:v>
                </c:pt>
                <c:pt idx="3">
                  <c:v>44.41</c:v>
                </c:pt>
                <c:pt idx="4">
                  <c:v>176.8</c:v>
                </c:pt>
                <c:pt idx="5">
                  <c:v>5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02</a:t>
                    </a:r>
                  </a:p>
                </c:rich>
              </c:tx>
              <c:dLblPos val="l"/>
              <c:showLegendKey val="0"/>
              <c:showVal val="1"/>
              <c:showCatName val="0"/>
              <c:showSerName val="0"/>
              <c:showPercent val="0"/>
              <c:showBubbleSize val="0"/>
            </c:dLbl>
            <c:dLbl>
              <c:idx val="1"/>
              <c:tx>
                <c:rich>
                  <a:bodyPr/>
                  <a:lstStyle/>
                  <a:p>
                    <a:r>
                      <a:t>IX 41</a:t>
                    </a:r>
                  </a:p>
                  <a:p>
                    <a:r>
                      <a:t>52.83</a:t>
                    </a:r>
                  </a:p>
                </c:rich>
              </c:tx>
              <c:dLblPos val="l"/>
              <c:showLegendKey val="0"/>
              <c:showVal val="1"/>
              <c:showCatName val="0"/>
              <c:showSerName val="0"/>
              <c:showPercent val="0"/>
              <c:showBubbleSize val="0"/>
            </c:dLbl>
            <c:dLbl>
              <c:idx val="2"/>
              <c:tx>
                <c:rich>
                  <a:bodyPr/>
                  <a:lstStyle/>
                  <a:p>
                    <a:r>
                      <a:t>IX 29</a:t>
                    </a:r>
                  </a:p>
                  <a:p>
                    <a:r>
                      <a:t>37.28</a:t>
                    </a:r>
                  </a:p>
                </c:rich>
              </c:tx>
              <c:dLblPos val="l"/>
              <c:showLegendKey val="0"/>
              <c:showVal val="1"/>
              <c:showCatName val="0"/>
              <c:showSerName val="0"/>
              <c:showPercent val="0"/>
              <c:showBubbleSize val="0"/>
            </c:dLbl>
            <c:dLbl>
              <c:idx val="3"/>
              <c:tx>
                <c:rich>
                  <a:bodyPr/>
                  <a:lstStyle/>
                  <a:p>
                    <a:r>
                      <a:t>IX 101</a:t>
                    </a:r>
                  </a:p>
                  <a:p>
                    <a:r>
                      <a:t>44.7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1</c:v>
                </c:pt>
                <c:pt idx="4">
                  <c:v/>
                </c:pt>
                <c:pt idx="5">
                  <c:v/>
                </c:pt>
              </c:strCache>
            </c:strRef>
          </c:cat>
          <c:val>
            <c:numRef>
              <c:f>Sheet1!$C$2:$C$7</c:f>
              <c:numCache>
                <c:formatCode>General</c:formatCode>
                <c:ptCount val="6"/>
                <c:pt idx="0">
                  <c:v>30.02</c:v>
                </c:pt>
                <c:pt idx="1">
                  <c:v>52.83</c:v>
                </c:pt>
                <c:pt idx="2">
                  <c:v>37.28</c:v>
                </c:pt>
                <c:pt idx="3">
                  <c:v>44.7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1</c:v>
                </c:pt>
                <c:pt idx="4">
                  <c:v/>
                </c:pt>
                <c:pt idx="5">
                  <c:v/>
                </c:pt>
              </c:strCache>
            </c:strRef>
          </c:cat>
          <c:val>
            <c:numRef>
              <c:f>Sheet1!$D$2:$D$7</c:f>
              <c:numCache>
                <c:formatCode>General</c:formatCode>
                <c:ptCount val="6"/>
                <c:pt idx="0">
                  <c:v>81.61</c:v>
                </c:pt>
                <c:pt idx="1">
                  <c:v>130.11</c:v>
                </c:pt>
                <c:pt idx="2">
                  <c:v>130.33</c:v>
                </c:pt>
                <c:pt idx="4">
                  <c:v>230.6</c:v>
                </c:pt>
                <c:pt idx="5">
                  <c:v>62.3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1</c:v>
                </c:pt>
                <c:pt idx="4">
                  <c:v/>
                </c:pt>
                <c:pt idx="5">
                  <c:v/>
                </c:pt>
              </c:strCache>
            </c:strRef>
          </c:cat>
          <c:val>
            <c:numRef>
              <c:f>Sheet1!$E$2:$E$7</c:f>
              <c:numCache>
                <c:formatCode>General</c:formatCode>
                <c:ptCount val="6"/>
                <c:pt idx="0">
                  <c:v>54.94</c:v>
                </c:pt>
                <c:pt idx="2">
                  <c:v>56.14</c:v>
                </c:pt>
                <c:pt idx="4">
                  <c:v>210.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1</c:v>
                </c:pt>
                <c:pt idx="4">
                  <c:v/>
                </c:pt>
                <c:pt idx="5">
                  <c:v/>
                </c:pt>
              </c:strCache>
            </c:strRef>
          </c:cat>
          <c:val>
            <c:numRef>
              <c:f>Sheet1!$F$2:$F$7</c:f>
              <c:numCache>
                <c:formatCode>General</c:formatCode>
                <c:ptCount val="6"/>
                <c:pt idx="0">
                  <c:v>73.33</c:v>
                </c:pt>
                <c:pt idx="1">
                  <c:v>51.0</c:v>
                </c:pt>
                <c:pt idx="2">
                  <c:v>50.35</c:v>
                </c:pt>
                <c:pt idx="3">
                  <c:v>44.49</c:v>
                </c:pt>
                <c:pt idx="4">
                  <c:v>52.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1.096"/>
          <c:min val="29.51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0</c:v>
                </c:pt>
                <c:pt idx="2">
                  <c:v>IX 28</c:v>
                </c:pt>
                <c:pt idx="3">
                  <c:v/>
                </c:pt>
                <c:pt idx="4">
                  <c:v>IX 94</c:v>
                </c:pt>
                <c:pt idx="5">
                  <c:v/>
                </c:pt>
              </c:strCache>
            </c:strRef>
          </c:cat>
          <c:val>
            <c:numRef>
              <c:f>Sheet1!$B$2:$B$7</c:f>
              <c:numCache>
                <c:formatCode>General</c:formatCode>
                <c:ptCount val="6"/>
                <c:pt idx="0">
                  <c:v>58.29</c:v>
                </c:pt>
                <c:pt idx="1">
                  <c:v>109.08</c:v>
                </c:pt>
                <c:pt idx="2">
                  <c:v>78.07</c:v>
                </c:pt>
                <c:pt idx="3">
                  <c:v>208.71</c:v>
                </c:pt>
                <c:pt idx="4">
                  <c:v>44.41</c:v>
                </c:pt>
                <c:pt idx="5">
                  <c:v>51.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8</a:t>
                    </a:r>
                  </a:p>
                  <a:p>
                    <a:r>
                      <a:t>30.32</a:t>
                    </a:r>
                  </a:p>
                </c:rich>
              </c:tx>
              <c:dLblPos val="l"/>
              <c:showLegendKey val="0"/>
              <c:showVal val="1"/>
              <c:showCatName val="0"/>
              <c:showSerName val="0"/>
              <c:showPercent val="0"/>
              <c:showBubbleSize val="0"/>
            </c:dLbl>
            <c:dLbl>
              <c:idx val="1"/>
              <c:tx>
                <c:rich>
                  <a:bodyPr/>
                  <a:lstStyle/>
                  <a:p>
                    <a:r>
                      <a:t>IX 40</a:t>
                    </a:r>
                  </a:p>
                  <a:p>
                    <a:r>
                      <a:t>52.59</a:t>
                    </a:r>
                  </a:p>
                </c:rich>
              </c:tx>
              <c:dLblPos val="l"/>
              <c:showLegendKey val="0"/>
              <c:showVal val="1"/>
              <c:showCatName val="0"/>
              <c:showSerName val="0"/>
              <c:showPercent val="0"/>
              <c:showBubbleSize val="0"/>
            </c:dLbl>
            <c:dLbl>
              <c:idx val="2"/>
              <c:tx>
                <c:rich>
                  <a:bodyPr/>
                  <a:lstStyle/>
                  <a:p>
                    <a:r>
                      <a:t>IX 28</a:t>
                    </a:r>
                  </a:p>
                  <a:p>
                    <a:r>
                      <a:t>38.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4</a:t>
                    </a:r>
                  </a:p>
                  <a:p>
                    <a:r>
                      <a:t>41.9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0</c:v>
                </c:pt>
                <c:pt idx="2">
                  <c:v>IX 28</c:v>
                </c:pt>
                <c:pt idx="3">
                  <c:v/>
                </c:pt>
                <c:pt idx="4">
                  <c:v>IX 94</c:v>
                </c:pt>
                <c:pt idx="5">
                  <c:v/>
                </c:pt>
              </c:strCache>
            </c:strRef>
          </c:cat>
          <c:val>
            <c:numRef>
              <c:f>Sheet1!$C$2:$C$7</c:f>
              <c:numCache>
                <c:formatCode>General</c:formatCode>
                <c:ptCount val="6"/>
                <c:pt idx="0">
                  <c:v>30.32</c:v>
                </c:pt>
                <c:pt idx="1">
                  <c:v>52.59</c:v>
                </c:pt>
                <c:pt idx="2">
                  <c:v>38.6</c:v>
                </c:pt>
                <c:pt idx="4">
                  <c:v>41.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0</c:v>
                </c:pt>
                <c:pt idx="2">
                  <c:v>IX 28</c:v>
                </c:pt>
                <c:pt idx="3">
                  <c:v/>
                </c:pt>
                <c:pt idx="4">
                  <c:v>IX 94</c:v>
                </c:pt>
                <c:pt idx="5">
                  <c:v/>
                </c:pt>
              </c:strCache>
            </c:strRef>
          </c:cat>
          <c:val>
            <c:numRef>
              <c:f>Sheet1!$D$2:$D$7</c:f>
              <c:numCache>
                <c:formatCode>General</c:formatCode>
                <c:ptCount val="6"/>
                <c:pt idx="0">
                  <c:v>80.68</c:v>
                </c:pt>
                <c:pt idx="1">
                  <c:v>130.73</c:v>
                </c:pt>
                <c:pt idx="2">
                  <c:v>139.37</c:v>
                </c:pt>
                <c:pt idx="3">
                  <c:v>261.35</c:v>
                </c:pt>
                <c:pt idx="5">
                  <c:v>63.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0</c:v>
                </c:pt>
                <c:pt idx="2">
                  <c:v>IX 28</c:v>
                </c:pt>
                <c:pt idx="3">
                  <c:v/>
                </c:pt>
                <c:pt idx="4">
                  <c:v>IX 94</c:v>
                </c:pt>
                <c:pt idx="5">
                  <c:v/>
                </c:pt>
              </c:strCache>
            </c:strRef>
          </c:cat>
          <c:val>
            <c:numRef>
              <c:f>Sheet1!$E$2:$E$7</c:f>
              <c:numCache>
                <c:formatCode>General</c:formatCode>
                <c:ptCount val="6"/>
                <c:pt idx="0">
                  <c:v>58.23</c:v>
                </c:pt>
                <c:pt idx="1">
                  <c:v>63.67</c:v>
                </c:pt>
                <c:pt idx="2">
                  <c:v>57.64</c:v>
                </c:pt>
                <c:pt idx="3">
                  <c:v>286.3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0</c:v>
                </c:pt>
                <c:pt idx="2">
                  <c:v>IX 28</c:v>
                </c:pt>
                <c:pt idx="3">
                  <c:v/>
                </c:pt>
                <c:pt idx="4">
                  <c:v>IX 94</c:v>
                </c:pt>
                <c:pt idx="5">
                  <c:v/>
                </c:pt>
              </c:strCache>
            </c:strRef>
          </c:cat>
          <c:val>
            <c:numRef>
              <c:f>Sheet1!$F$2:$F$7</c:f>
              <c:numCache>
                <c:formatCode>General</c:formatCode>
                <c:ptCount val="6"/>
                <c:pt idx="1">
                  <c:v>50.94</c:v>
                </c:pt>
                <c:pt idx="2">
                  <c:v>49.97</c:v>
                </c:pt>
                <c:pt idx="3">
                  <c:v>50.01</c:v>
                </c:pt>
                <c:pt idx="4">
                  <c:v>44.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6.86"/>
          <c:min val="29.81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2</c:v>
                </c:pt>
                <c:pt idx="2">
                  <c:v>IX 24</c:v>
                </c:pt>
                <c:pt idx="3">
                  <c:v/>
                </c:pt>
                <c:pt idx="4">
                  <c:v/>
                </c:pt>
                <c:pt idx="5">
                  <c:v>IX 92</c:v>
                </c:pt>
              </c:strCache>
            </c:strRef>
          </c:cat>
          <c:val>
            <c:numRef>
              <c:f>Sheet1!$B$2:$B$7</c:f>
              <c:numCache>
                <c:formatCode>General</c:formatCode>
                <c:ptCount val="6"/>
                <c:pt idx="0">
                  <c:v>60.36</c:v>
                </c:pt>
                <c:pt idx="1">
                  <c:v>114.16</c:v>
                </c:pt>
                <c:pt idx="2">
                  <c:v>104.58</c:v>
                </c:pt>
                <c:pt idx="3">
                  <c:v>234.09</c:v>
                </c:pt>
                <c:pt idx="4">
                  <c:v>51.06</c:v>
                </c:pt>
                <c:pt idx="5">
                  <c:v>44.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03</a:t>
                    </a:r>
                  </a:p>
                </c:rich>
              </c:tx>
              <c:dLblPos val="l"/>
              <c:showLegendKey val="0"/>
              <c:showVal val="1"/>
              <c:showCatName val="0"/>
              <c:showSerName val="0"/>
              <c:showPercent val="0"/>
              <c:showBubbleSize val="0"/>
            </c:dLbl>
            <c:dLbl>
              <c:idx val="1"/>
              <c:tx>
                <c:rich>
                  <a:bodyPr/>
                  <a:lstStyle/>
                  <a:p>
                    <a:r>
                      <a:t>IX 42</a:t>
                    </a:r>
                  </a:p>
                  <a:p>
                    <a:r>
                      <a:t>54.0</a:t>
                    </a:r>
                  </a:p>
                </c:rich>
              </c:tx>
              <c:dLblPos val="l"/>
              <c:showLegendKey val="0"/>
              <c:showVal val="1"/>
              <c:showCatName val="0"/>
              <c:showSerName val="0"/>
              <c:showPercent val="0"/>
              <c:showBubbleSize val="0"/>
            </c:dLbl>
            <c:dLbl>
              <c:idx val="2"/>
              <c:tx>
                <c:rich>
                  <a:bodyPr/>
                  <a:lstStyle/>
                  <a:p>
                    <a:r>
                      <a:t>IX 24</a:t>
                    </a:r>
                  </a:p>
                  <a:p>
                    <a:r>
                      <a:t>37.7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92</a:t>
                    </a:r>
                  </a:p>
                  <a:p>
                    <a:r>
                      <a:t>41.0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2</c:v>
                </c:pt>
                <c:pt idx="2">
                  <c:v>IX 24</c:v>
                </c:pt>
                <c:pt idx="3">
                  <c:v/>
                </c:pt>
                <c:pt idx="4">
                  <c:v/>
                </c:pt>
                <c:pt idx="5">
                  <c:v>IX 92</c:v>
                </c:pt>
              </c:strCache>
            </c:strRef>
          </c:cat>
          <c:val>
            <c:numRef>
              <c:f>Sheet1!$C$2:$C$7</c:f>
              <c:numCache>
                <c:formatCode>General</c:formatCode>
                <c:ptCount val="6"/>
                <c:pt idx="0">
                  <c:v>30.03</c:v>
                </c:pt>
                <c:pt idx="1">
                  <c:v>54.0</c:v>
                </c:pt>
                <c:pt idx="2">
                  <c:v>37.71</c:v>
                </c:pt>
                <c:pt idx="5">
                  <c:v>41.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2</c:v>
                </c:pt>
                <c:pt idx="2">
                  <c:v>IX 24</c:v>
                </c:pt>
                <c:pt idx="3">
                  <c:v/>
                </c:pt>
                <c:pt idx="4">
                  <c:v/>
                </c:pt>
                <c:pt idx="5">
                  <c:v>IX 92</c:v>
                </c:pt>
              </c:strCache>
            </c:strRef>
          </c:cat>
          <c:val>
            <c:numRef>
              <c:f>Sheet1!$D$2:$D$7</c:f>
              <c:numCache>
                <c:formatCode>General</c:formatCode>
                <c:ptCount val="6"/>
                <c:pt idx="0">
                  <c:v>80.38</c:v>
                </c:pt>
                <c:pt idx="1">
                  <c:v>128.61</c:v>
                </c:pt>
                <c:pt idx="2">
                  <c:v>155.87</c:v>
                </c:pt>
                <c:pt idx="3">
                  <c:v>280.82</c:v>
                </c:pt>
                <c:pt idx="4">
                  <c:v>62.4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2</c:v>
                </c:pt>
                <c:pt idx="2">
                  <c:v>IX 24</c:v>
                </c:pt>
                <c:pt idx="3">
                  <c:v/>
                </c:pt>
                <c:pt idx="4">
                  <c:v/>
                </c:pt>
                <c:pt idx="5">
                  <c:v>IX 92</c:v>
                </c:pt>
              </c:strCache>
            </c:strRef>
          </c:cat>
          <c:val>
            <c:numRef>
              <c:f>Sheet1!$E$2:$E$7</c:f>
              <c:numCache>
                <c:formatCode>General</c:formatCode>
                <c:ptCount val="6"/>
                <c:pt idx="0">
                  <c:v>66.21</c:v>
                </c:pt>
                <c:pt idx="1">
                  <c:v>220.37</c:v>
                </c:pt>
                <c:pt idx="2">
                  <c:v>113.65</c:v>
                </c:pt>
                <c:pt idx="3">
                  <c:v>74.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2</c:v>
                </c:pt>
                <c:pt idx="2">
                  <c:v>IX 24</c:v>
                </c:pt>
                <c:pt idx="3">
                  <c:v/>
                </c:pt>
                <c:pt idx="4">
                  <c:v/>
                </c:pt>
                <c:pt idx="5">
                  <c:v>IX 92</c:v>
                </c:pt>
              </c:strCache>
            </c:strRef>
          </c:cat>
          <c:val>
            <c:numRef>
              <c:f>Sheet1!$F$2:$F$7</c:f>
              <c:numCache>
                <c:formatCode>General</c:formatCode>
                <c:ptCount val="6"/>
                <c:pt idx="1">
                  <c:v>51.13</c:v>
                </c:pt>
                <c:pt idx="2">
                  <c:v>47.14</c:v>
                </c:pt>
                <c:pt idx="3">
                  <c:v>49.33</c:v>
                </c:pt>
                <c:pt idx="5">
                  <c:v>44.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1.3223"/>
          <c:min val="29.52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29</c:v>
                </c:pt>
                <c:pt idx="3">
                  <c:v/>
                </c:pt>
                <c:pt idx="4">
                  <c:v/>
                </c:pt>
                <c:pt idx="5">
                  <c:v>IX 80</c:v>
                </c:pt>
              </c:strCache>
            </c:strRef>
          </c:cat>
          <c:val>
            <c:numRef>
              <c:f>Sheet1!$B$2:$B$7</c:f>
              <c:numCache>
                <c:formatCode>General</c:formatCode>
                <c:ptCount val="6"/>
                <c:pt idx="0">
                  <c:v>58.25</c:v>
                </c:pt>
                <c:pt idx="1">
                  <c:v>109.38</c:v>
                </c:pt>
                <c:pt idx="2">
                  <c:v>75.27</c:v>
                </c:pt>
                <c:pt idx="3">
                  <c:v>177.64</c:v>
                </c:pt>
                <c:pt idx="4">
                  <c:v>50.77</c:v>
                </c:pt>
                <c:pt idx="5">
                  <c:v>43.7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29.9</a:t>
                    </a:r>
                  </a:p>
                </c:rich>
              </c:tx>
              <c:dLblPos val="l"/>
              <c:showLegendKey val="0"/>
              <c:showVal val="1"/>
              <c:showCatName val="0"/>
              <c:showSerName val="0"/>
              <c:showPercent val="0"/>
              <c:showBubbleSize val="0"/>
            </c:dLbl>
            <c:dLbl>
              <c:idx val="1"/>
              <c:tx>
                <c:rich>
                  <a:bodyPr/>
                  <a:lstStyle/>
                  <a:p>
                    <a:r>
                      <a:t>IX 41</a:t>
                    </a:r>
                  </a:p>
                  <a:p>
                    <a:r>
                      <a:t>54.09</a:t>
                    </a:r>
                  </a:p>
                </c:rich>
              </c:tx>
              <c:dLblPos val="l"/>
              <c:showLegendKey val="0"/>
              <c:showVal val="1"/>
              <c:showCatName val="0"/>
              <c:showSerName val="0"/>
              <c:showPercent val="0"/>
              <c:showBubbleSize val="0"/>
            </c:dLbl>
            <c:dLbl>
              <c:idx val="2"/>
              <c:tx>
                <c:rich>
                  <a:bodyPr/>
                  <a:lstStyle/>
                  <a:p>
                    <a:r>
                      <a:t>IX 29</a:t>
                    </a:r>
                  </a:p>
                  <a:p>
                    <a:r>
                      <a:t>37.3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80</a:t>
                    </a:r>
                  </a:p>
                  <a:p>
                    <a:r>
                      <a:t>35.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29</c:v>
                </c:pt>
                <c:pt idx="3">
                  <c:v/>
                </c:pt>
                <c:pt idx="4">
                  <c:v/>
                </c:pt>
                <c:pt idx="5">
                  <c:v>IX 80</c:v>
                </c:pt>
              </c:strCache>
            </c:strRef>
          </c:cat>
          <c:val>
            <c:numRef>
              <c:f>Sheet1!$C$2:$C$7</c:f>
              <c:numCache>
                <c:formatCode>General</c:formatCode>
                <c:ptCount val="6"/>
                <c:pt idx="0">
                  <c:v>29.9</c:v>
                </c:pt>
                <c:pt idx="1">
                  <c:v>54.09</c:v>
                </c:pt>
                <c:pt idx="2">
                  <c:v>37.33</c:v>
                </c:pt>
                <c:pt idx="5">
                  <c:v>35.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29</c:v>
                </c:pt>
                <c:pt idx="3">
                  <c:v/>
                </c:pt>
                <c:pt idx="4">
                  <c:v/>
                </c:pt>
                <c:pt idx="5">
                  <c:v>IX 80</c:v>
                </c:pt>
              </c:strCache>
            </c:strRef>
          </c:cat>
          <c:val>
            <c:numRef>
              <c:f>Sheet1!$D$2:$D$7</c:f>
              <c:numCache>
                <c:formatCode>General</c:formatCode>
                <c:ptCount val="6"/>
                <c:pt idx="0">
                  <c:v>81.94</c:v>
                </c:pt>
                <c:pt idx="1">
                  <c:v>132.76</c:v>
                </c:pt>
                <c:pt idx="2">
                  <c:v>129.4</c:v>
                </c:pt>
                <c:pt idx="3">
                  <c:v>224.73</c:v>
                </c:pt>
                <c:pt idx="4">
                  <c:v>62.7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29</c:v>
                </c:pt>
                <c:pt idx="3">
                  <c:v/>
                </c:pt>
                <c:pt idx="4">
                  <c:v/>
                </c:pt>
                <c:pt idx="5">
                  <c:v>IX 80</c:v>
                </c:pt>
              </c:strCache>
            </c:strRef>
          </c:cat>
          <c:val>
            <c:numRef>
              <c:f>Sheet1!$E$2:$E$7</c:f>
              <c:numCache>
                <c:formatCode>General</c:formatCode>
                <c:ptCount val="6"/>
                <c:pt idx="0">
                  <c:v>56.88</c:v>
                </c:pt>
                <c:pt idx="2">
                  <c:v>54.78</c:v>
                </c:pt>
                <c:pt idx="3">
                  <c:v>203.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29</c:v>
                </c:pt>
                <c:pt idx="3">
                  <c:v/>
                </c:pt>
                <c:pt idx="4">
                  <c:v/>
                </c:pt>
                <c:pt idx="5">
                  <c:v>IX 80</c:v>
                </c:pt>
              </c:strCache>
            </c:strRef>
          </c:cat>
          <c:val>
            <c:numRef>
              <c:f>Sheet1!$F$2:$F$7</c:f>
              <c:numCache>
                <c:formatCode>General</c:formatCode>
                <c:ptCount val="6"/>
                <c:pt idx="1">
                  <c:v>52.21</c:v>
                </c:pt>
                <c:pt idx="2">
                  <c:v>46.29</c:v>
                </c:pt>
                <c:pt idx="3">
                  <c:v>46.72</c:v>
                </c:pt>
                <c:pt idx="5">
                  <c:v>44.7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2348"/>
          <c:min val="29.39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54.08</c:v>
                </c:pt>
                <c:pt idx="1">
                  <c:v>13.43</c:v>
                </c:pt>
                <c:pt idx="2">
                  <c:v>21.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3</a:t>
                    </a:r>
                  </a:p>
                  <a:p>
                    <a:r>
                      <a:t>30.5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0.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2.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4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8.16</c:v>
                </c:pt>
                <c:pt idx="2">
                  <c:v>3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5788"/>
          <c:min val="12.9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5</c:v>
                </c:pt>
                <c:pt idx="3">
                  <c:v>IX 108</c:v>
                </c:pt>
                <c:pt idx="4">
                  <c:v/>
                </c:pt>
                <c:pt idx="5">
                  <c:v/>
                </c:pt>
              </c:strCache>
            </c:strRef>
          </c:cat>
          <c:val>
            <c:numRef>
              <c:f>Sheet1!$B$2:$B$7</c:f>
              <c:numCache>
                <c:formatCode>General</c:formatCode>
                <c:ptCount val="6"/>
                <c:pt idx="0">
                  <c:v>57.39</c:v>
                </c:pt>
                <c:pt idx="1">
                  <c:v>105.02</c:v>
                </c:pt>
                <c:pt idx="2">
                  <c:v>81.85</c:v>
                </c:pt>
                <c:pt idx="3">
                  <c:v>44.7</c:v>
                </c:pt>
                <c:pt idx="4">
                  <c:v>51.53</c:v>
                </c:pt>
                <c:pt idx="5">
                  <c:v>207.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17</a:t>
                    </a:r>
                  </a:p>
                </c:rich>
              </c:tx>
              <c:dLblPos val="l"/>
              <c:showLegendKey val="0"/>
              <c:showVal val="1"/>
              <c:showCatName val="0"/>
              <c:showSerName val="0"/>
              <c:showPercent val="0"/>
              <c:showBubbleSize val="0"/>
            </c:dLbl>
            <c:dLbl>
              <c:idx val="1"/>
              <c:tx>
                <c:rich>
                  <a:bodyPr/>
                  <a:lstStyle/>
                  <a:p>
                    <a:r>
                      <a:t>IX 41</a:t>
                    </a:r>
                  </a:p>
                  <a:p>
                    <a:r>
                      <a:t>53.5</a:t>
                    </a:r>
                  </a:p>
                </c:rich>
              </c:tx>
              <c:dLblPos val="l"/>
              <c:showLegendKey val="0"/>
              <c:showVal val="1"/>
              <c:showCatName val="0"/>
              <c:showSerName val="0"/>
              <c:showPercent val="0"/>
              <c:showBubbleSize val="0"/>
            </c:dLbl>
            <c:dLbl>
              <c:idx val="2"/>
              <c:tx>
                <c:rich>
                  <a:bodyPr/>
                  <a:lstStyle/>
                  <a:p>
                    <a:r>
                      <a:t>IX 25</a:t>
                    </a:r>
                  </a:p>
                  <a:p>
                    <a:r>
                      <a:t>38.26</a:t>
                    </a:r>
                  </a:p>
                </c:rich>
              </c:tx>
              <c:dLblPos val="l"/>
              <c:showLegendKey val="0"/>
              <c:showVal val="1"/>
              <c:showCatName val="0"/>
              <c:showSerName val="0"/>
              <c:showPercent val="0"/>
              <c:showBubbleSize val="0"/>
            </c:dLbl>
            <c:dLbl>
              <c:idx val="3"/>
              <c:tx>
                <c:rich>
                  <a:bodyPr/>
                  <a:lstStyle/>
                  <a:p>
                    <a:r>
                      <a:t>IX 108</a:t>
                    </a:r>
                  </a:p>
                  <a:p>
                    <a:r>
                      <a:t>48.29</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5</c:v>
                </c:pt>
                <c:pt idx="3">
                  <c:v>IX 108</c:v>
                </c:pt>
                <c:pt idx="4">
                  <c:v/>
                </c:pt>
                <c:pt idx="5">
                  <c:v/>
                </c:pt>
              </c:strCache>
            </c:strRef>
          </c:cat>
          <c:val>
            <c:numRef>
              <c:f>Sheet1!$C$2:$C$7</c:f>
              <c:numCache>
                <c:formatCode>General</c:formatCode>
                <c:ptCount val="6"/>
                <c:pt idx="0">
                  <c:v>30.17</c:v>
                </c:pt>
                <c:pt idx="1">
                  <c:v>53.5</c:v>
                </c:pt>
                <c:pt idx="2">
                  <c:v>38.26</c:v>
                </c:pt>
                <c:pt idx="3">
                  <c:v>48.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5</c:v>
                </c:pt>
                <c:pt idx="3">
                  <c:v>IX 108</c:v>
                </c:pt>
                <c:pt idx="4">
                  <c:v/>
                </c:pt>
                <c:pt idx="5">
                  <c:v/>
                </c:pt>
              </c:strCache>
            </c:strRef>
          </c:cat>
          <c:val>
            <c:numRef>
              <c:f>Sheet1!$D$2:$D$7</c:f>
              <c:numCache>
                <c:formatCode>General</c:formatCode>
                <c:ptCount val="6"/>
                <c:pt idx="0">
                  <c:v>81.25</c:v>
                </c:pt>
                <c:pt idx="1">
                  <c:v>130.58</c:v>
                </c:pt>
                <c:pt idx="2">
                  <c:v>153.93</c:v>
                </c:pt>
                <c:pt idx="4">
                  <c:v>62.66</c:v>
                </c:pt>
                <c:pt idx="5">
                  <c:v>272.1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5</c:v>
                </c:pt>
                <c:pt idx="3">
                  <c:v>IX 108</c:v>
                </c:pt>
                <c:pt idx="4">
                  <c:v/>
                </c:pt>
                <c:pt idx="5">
                  <c:v/>
                </c:pt>
              </c:strCache>
            </c:strRef>
          </c:cat>
          <c:val>
            <c:numRef>
              <c:f>Sheet1!$E$2:$E$7</c:f>
              <c:numCache>
                <c:formatCode>General</c:formatCode>
                <c:ptCount val="6"/>
                <c:pt idx="0">
                  <c:v>55.04</c:v>
                </c:pt>
                <c:pt idx="1">
                  <c:v>62.14</c:v>
                </c:pt>
                <c:pt idx="2">
                  <c:v>57.15</c:v>
                </c:pt>
                <c:pt idx="5">
                  <c:v>260.3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5</c:v>
                </c:pt>
                <c:pt idx="3">
                  <c:v>IX 108</c:v>
                </c:pt>
                <c:pt idx="4">
                  <c:v/>
                </c:pt>
                <c:pt idx="5">
                  <c:v/>
                </c:pt>
              </c:strCache>
            </c:strRef>
          </c:cat>
          <c:val>
            <c:numRef>
              <c:f>Sheet1!$F$2:$F$7</c:f>
              <c:numCache>
                <c:formatCode>General</c:formatCode>
                <c:ptCount val="6"/>
                <c:pt idx="0">
                  <c:v>73.33</c:v>
                </c:pt>
                <c:pt idx="1">
                  <c:v>50.92</c:v>
                </c:pt>
                <c:pt idx="2">
                  <c:v>50.61</c:v>
                </c:pt>
                <c:pt idx="3">
                  <c:v>44.7</c:v>
                </c:pt>
                <c:pt idx="4">
                  <c:v>29.0</c:v>
                </c:pt>
                <c:pt idx="5">
                  <c:v>52.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2.6178"/>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
                </c:pt>
                <c:pt idx="4">
                  <c:v>IX 97</c:v>
                </c:pt>
                <c:pt idx="5">
                  <c:v/>
                </c:pt>
              </c:strCache>
            </c:strRef>
          </c:cat>
          <c:val>
            <c:numRef>
              <c:f>Sheet1!$B$2:$B$7</c:f>
              <c:numCache>
                <c:formatCode>General</c:formatCode>
                <c:ptCount val="6"/>
                <c:pt idx="0">
                  <c:v>56.37</c:v>
                </c:pt>
                <c:pt idx="1">
                  <c:v>109.14</c:v>
                </c:pt>
                <c:pt idx="2">
                  <c:v>78.37</c:v>
                </c:pt>
                <c:pt idx="3">
                  <c:v>228.69</c:v>
                </c:pt>
                <c:pt idx="4">
                  <c:v>44.18</c:v>
                </c:pt>
                <c:pt idx="5">
                  <c:v>51.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03</a:t>
                    </a:r>
                  </a:p>
                </c:rich>
              </c:tx>
              <c:dLblPos val="l"/>
              <c:showLegendKey val="0"/>
              <c:showVal val="1"/>
              <c:showCatName val="0"/>
              <c:showSerName val="0"/>
              <c:showPercent val="0"/>
              <c:showBubbleSize val="0"/>
            </c:dLbl>
            <c:dLbl>
              <c:idx val="1"/>
              <c:tx>
                <c:rich>
                  <a:bodyPr/>
                  <a:lstStyle/>
                  <a:p>
                    <a:r>
                      <a:t>IX 41</a:t>
                    </a:r>
                  </a:p>
                  <a:p>
                    <a:r>
                      <a:t>53.53</a:t>
                    </a:r>
                  </a:p>
                </c:rich>
              </c:tx>
              <c:dLblPos val="l"/>
              <c:showLegendKey val="0"/>
              <c:showVal val="1"/>
              <c:showCatName val="0"/>
              <c:showSerName val="0"/>
              <c:showPercent val="0"/>
              <c:showBubbleSize val="0"/>
            </c:dLbl>
            <c:dLbl>
              <c:idx val="2"/>
              <c:tx>
                <c:rich>
                  <a:bodyPr/>
                  <a:lstStyle/>
                  <a:p>
                    <a:r>
                      <a:t>IX 28</a:t>
                    </a:r>
                  </a:p>
                  <a:p>
                    <a:r>
                      <a:t>37.4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7</a:t>
                    </a:r>
                  </a:p>
                  <a:p>
                    <a:r>
                      <a:t>42.7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
                </c:pt>
                <c:pt idx="4">
                  <c:v>IX 97</c:v>
                </c:pt>
                <c:pt idx="5">
                  <c:v/>
                </c:pt>
              </c:strCache>
            </c:strRef>
          </c:cat>
          <c:val>
            <c:numRef>
              <c:f>Sheet1!$C$2:$C$7</c:f>
              <c:numCache>
                <c:formatCode>General</c:formatCode>
                <c:ptCount val="6"/>
                <c:pt idx="0">
                  <c:v>30.03</c:v>
                </c:pt>
                <c:pt idx="1">
                  <c:v>53.53</c:v>
                </c:pt>
                <c:pt idx="2">
                  <c:v>37.43</c:v>
                </c:pt>
                <c:pt idx="4">
                  <c:v>42.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
                </c:pt>
                <c:pt idx="4">
                  <c:v>IX 97</c:v>
                </c:pt>
                <c:pt idx="5">
                  <c:v/>
                </c:pt>
              </c:strCache>
            </c:strRef>
          </c:cat>
          <c:val>
            <c:numRef>
              <c:f>Sheet1!$D$2:$D$7</c:f>
              <c:numCache>
                <c:formatCode>General</c:formatCode>
                <c:ptCount val="6"/>
                <c:pt idx="0">
                  <c:v>81.73</c:v>
                </c:pt>
                <c:pt idx="1">
                  <c:v>131.13</c:v>
                </c:pt>
                <c:pt idx="2">
                  <c:v>132.84</c:v>
                </c:pt>
                <c:pt idx="3">
                  <c:v>267.24</c:v>
                </c:pt>
                <c:pt idx="5">
                  <c:v>61.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
                </c:pt>
                <c:pt idx="4">
                  <c:v>IX 97</c:v>
                </c:pt>
                <c:pt idx="5">
                  <c:v/>
                </c:pt>
              </c:strCache>
            </c:strRef>
          </c:cat>
          <c:val>
            <c:numRef>
              <c:f>Sheet1!$E$2:$E$7</c:f>
              <c:numCache>
                <c:formatCode>General</c:formatCode>
                <c:ptCount val="6"/>
                <c:pt idx="0">
                  <c:v>55.73</c:v>
                </c:pt>
                <c:pt idx="2">
                  <c:v>57.53</c:v>
                </c:pt>
                <c:pt idx="3">
                  <c:v>248.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
                </c:pt>
                <c:pt idx="4">
                  <c:v>IX 97</c:v>
                </c:pt>
                <c:pt idx="5">
                  <c:v/>
                </c:pt>
              </c:strCache>
            </c:strRef>
          </c:cat>
          <c:val>
            <c:numRef>
              <c:f>Sheet1!$F$2:$F$7</c:f>
              <c:numCache>
                <c:formatCode>General</c:formatCode>
                <c:ptCount val="6"/>
                <c:pt idx="1">
                  <c:v>50.87</c:v>
                </c:pt>
                <c:pt idx="2">
                  <c:v>49.78</c:v>
                </c:pt>
                <c:pt idx="3">
                  <c:v>49.09</c:v>
                </c:pt>
                <c:pt idx="4">
                  <c:v>44.2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7.7389"/>
          <c:min val="29.53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1</c:v>
                </c:pt>
                <c:pt idx="2">
                  <c:v>IX 28</c:v>
                </c:pt>
                <c:pt idx="3">
                  <c:v/>
                </c:pt>
                <c:pt idx="4">
                  <c:v>IX 95</c:v>
                </c:pt>
                <c:pt idx="5">
                  <c:v/>
                </c:pt>
              </c:strCache>
            </c:strRef>
          </c:cat>
          <c:val>
            <c:numRef>
              <c:f>Sheet1!$B$2:$B$7</c:f>
              <c:numCache>
                <c:formatCode>General</c:formatCode>
                <c:ptCount val="6"/>
                <c:pt idx="0">
                  <c:v>57.82</c:v>
                </c:pt>
                <c:pt idx="1">
                  <c:v>100.96</c:v>
                </c:pt>
                <c:pt idx="2">
                  <c:v>70.74</c:v>
                </c:pt>
                <c:pt idx="3">
                  <c:v>181.41</c:v>
                </c:pt>
                <c:pt idx="4">
                  <c:v>44.12</c:v>
                </c:pt>
                <c:pt idx="5">
                  <c:v>49.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8</a:t>
                    </a:r>
                  </a:p>
                  <a:p>
                    <a:r>
                      <a:t>30.65</a:t>
                    </a:r>
                  </a:p>
                </c:rich>
              </c:tx>
              <c:dLblPos val="l"/>
              <c:showLegendKey val="0"/>
              <c:showVal val="1"/>
              <c:showCatName val="0"/>
              <c:showSerName val="0"/>
              <c:showPercent val="0"/>
              <c:showBubbleSize val="0"/>
            </c:dLbl>
            <c:dLbl>
              <c:idx val="1"/>
              <c:tx>
                <c:rich>
                  <a:bodyPr/>
                  <a:lstStyle/>
                  <a:p>
                    <a:r>
                      <a:t>IX 41</a:t>
                    </a:r>
                  </a:p>
                  <a:p>
                    <a:r>
                      <a:t>53.79</a:t>
                    </a:r>
                  </a:p>
                </c:rich>
              </c:tx>
              <c:dLblPos val="l"/>
              <c:showLegendKey val="0"/>
              <c:showVal val="1"/>
              <c:showCatName val="0"/>
              <c:showSerName val="0"/>
              <c:showPercent val="0"/>
              <c:showBubbleSize val="0"/>
            </c:dLbl>
            <c:dLbl>
              <c:idx val="2"/>
              <c:tx>
                <c:rich>
                  <a:bodyPr/>
                  <a:lstStyle/>
                  <a:p>
                    <a:r>
                      <a:t>IX 28</a:t>
                    </a:r>
                  </a:p>
                  <a:p>
                    <a:r>
                      <a:t>37.2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5</a:t>
                    </a:r>
                  </a:p>
                  <a:p>
                    <a:r>
                      <a:t>42.4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1</c:v>
                </c:pt>
                <c:pt idx="2">
                  <c:v>IX 28</c:v>
                </c:pt>
                <c:pt idx="3">
                  <c:v/>
                </c:pt>
                <c:pt idx="4">
                  <c:v>IX 95</c:v>
                </c:pt>
                <c:pt idx="5">
                  <c:v/>
                </c:pt>
              </c:strCache>
            </c:strRef>
          </c:cat>
          <c:val>
            <c:numRef>
              <c:f>Sheet1!$C$2:$C$7</c:f>
              <c:numCache>
                <c:formatCode>General</c:formatCode>
                <c:ptCount val="6"/>
                <c:pt idx="0">
                  <c:v>30.65</c:v>
                </c:pt>
                <c:pt idx="1">
                  <c:v>53.79</c:v>
                </c:pt>
                <c:pt idx="2">
                  <c:v>37.23</c:v>
                </c:pt>
                <c:pt idx="4">
                  <c:v>42.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1</c:v>
                </c:pt>
                <c:pt idx="2">
                  <c:v>IX 28</c:v>
                </c:pt>
                <c:pt idx="3">
                  <c:v/>
                </c:pt>
                <c:pt idx="4">
                  <c:v>IX 95</c:v>
                </c:pt>
                <c:pt idx="5">
                  <c:v/>
                </c:pt>
              </c:strCache>
            </c:strRef>
          </c:cat>
          <c:val>
            <c:numRef>
              <c:f>Sheet1!$D$2:$D$7</c:f>
              <c:numCache>
                <c:formatCode>General</c:formatCode>
                <c:ptCount val="6"/>
                <c:pt idx="0">
                  <c:v>81.46</c:v>
                </c:pt>
                <c:pt idx="1">
                  <c:v>131.37</c:v>
                </c:pt>
                <c:pt idx="2">
                  <c:v>131.82</c:v>
                </c:pt>
                <c:pt idx="3">
                  <c:v>230.39</c:v>
                </c:pt>
                <c:pt idx="5">
                  <c:v>61.5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1</c:v>
                </c:pt>
                <c:pt idx="2">
                  <c:v>IX 28</c:v>
                </c:pt>
                <c:pt idx="3">
                  <c:v/>
                </c:pt>
                <c:pt idx="4">
                  <c:v>IX 95</c:v>
                </c:pt>
                <c:pt idx="5">
                  <c:v/>
                </c:pt>
              </c:strCache>
            </c:strRef>
          </c:cat>
          <c:val>
            <c:numRef>
              <c:f>Sheet1!$E$2:$E$7</c:f>
              <c:numCache>
                <c:formatCode>General</c:formatCode>
                <c:ptCount val="6"/>
                <c:pt idx="0">
                  <c:v>55.15</c:v>
                </c:pt>
                <c:pt idx="1">
                  <c:v>50.0</c:v>
                </c:pt>
                <c:pt idx="2">
                  <c:v>53.87</c:v>
                </c:pt>
                <c:pt idx="3">
                  <c:v>223.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1</c:v>
                </c:pt>
                <c:pt idx="2">
                  <c:v>IX 28</c:v>
                </c:pt>
                <c:pt idx="3">
                  <c:v/>
                </c:pt>
                <c:pt idx="4">
                  <c:v>IX 95</c:v>
                </c:pt>
                <c:pt idx="5">
                  <c:v/>
                </c:pt>
              </c:strCache>
            </c:strRef>
          </c:cat>
          <c:val>
            <c:numRef>
              <c:f>Sheet1!$F$2:$F$7</c:f>
              <c:numCache>
                <c:formatCode>General</c:formatCode>
                <c:ptCount val="6"/>
                <c:pt idx="1">
                  <c:v>50.16</c:v>
                </c:pt>
                <c:pt idx="2">
                  <c:v>46.02</c:v>
                </c:pt>
                <c:pt idx="3">
                  <c:v>48.99</c:v>
                </c:pt>
                <c:pt idx="4">
                  <c:v>44.5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0.8865"/>
          <c:min val="30.14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39</c:v>
                </c:pt>
                <c:pt idx="2">
                  <c:v>IX 31</c:v>
                </c:pt>
                <c:pt idx="3">
                  <c:v>IX 94</c:v>
                </c:pt>
                <c:pt idx="4">
                  <c:v/>
                </c:pt>
                <c:pt idx="5">
                  <c:v/>
                </c:pt>
              </c:strCache>
            </c:strRef>
          </c:cat>
          <c:val>
            <c:numRef>
              <c:f>Sheet1!$B$2:$B$7</c:f>
              <c:numCache>
                <c:formatCode>General</c:formatCode>
                <c:ptCount val="6"/>
                <c:pt idx="0">
                  <c:v>52.76</c:v>
                </c:pt>
                <c:pt idx="1">
                  <c:v>95.09</c:v>
                </c:pt>
                <c:pt idx="2">
                  <c:v>64.78</c:v>
                </c:pt>
                <c:pt idx="3">
                  <c:v>43.86</c:v>
                </c:pt>
                <c:pt idx="4">
                  <c:v>185.14</c:v>
                </c:pt>
                <c:pt idx="5">
                  <c:v>49.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04</a:t>
                    </a:r>
                  </a:p>
                </c:rich>
              </c:tx>
              <c:dLblPos val="l"/>
              <c:showLegendKey val="0"/>
              <c:showVal val="1"/>
              <c:showCatName val="0"/>
              <c:showSerName val="0"/>
              <c:showPercent val="0"/>
              <c:showBubbleSize val="0"/>
            </c:dLbl>
            <c:dLbl>
              <c:idx val="1"/>
              <c:tx>
                <c:rich>
                  <a:bodyPr/>
                  <a:lstStyle/>
                  <a:p>
                    <a:r>
                      <a:t>IX 39</a:t>
                    </a:r>
                  </a:p>
                  <a:p>
                    <a:r>
                      <a:t>49.78</a:t>
                    </a:r>
                  </a:p>
                </c:rich>
              </c:tx>
              <c:dLblPos val="l"/>
              <c:showLegendKey val="0"/>
              <c:showVal val="1"/>
              <c:showCatName val="0"/>
              <c:showSerName val="0"/>
              <c:showPercent val="0"/>
              <c:showBubbleSize val="0"/>
            </c:dLbl>
            <c:dLbl>
              <c:idx val="2"/>
              <c:tx>
                <c:rich>
                  <a:bodyPr/>
                  <a:lstStyle/>
                  <a:p>
                    <a:r>
                      <a:t>IX 31</a:t>
                    </a:r>
                  </a:p>
                  <a:p>
                    <a:r>
                      <a:t>36.03</a:t>
                    </a:r>
                  </a:p>
                </c:rich>
              </c:tx>
              <c:dLblPos val="l"/>
              <c:showLegendKey val="0"/>
              <c:showVal val="1"/>
              <c:showCatName val="0"/>
              <c:showSerName val="0"/>
              <c:showPercent val="0"/>
              <c:showBubbleSize val="0"/>
            </c:dLbl>
            <c:dLbl>
              <c:idx val="3"/>
              <c:tx>
                <c:rich>
                  <a:bodyPr/>
                  <a:lstStyle/>
                  <a:p>
                    <a:r>
                      <a:t>IX 94</a:t>
                    </a:r>
                  </a:p>
                  <a:p>
                    <a:r>
                      <a:t>42.1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39</c:v>
                </c:pt>
                <c:pt idx="2">
                  <c:v>IX 31</c:v>
                </c:pt>
                <c:pt idx="3">
                  <c:v>IX 94</c:v>
                </c:pt>
                <c:pt idx="4">
                  <c:v/>
                </c:pt>
                <c:pt idx="5">
                  <c:v/>
                </c:pt>
              </c:strCache>
            </c:strRef>
          </c:cat>
          <c:val>
            <c:numRef>
              <c:f>Sheet1!$C$2:$C$7</c:f>
              <c:numCache>
                <c:formatCode>General</c:formatCode>
                <c:ptCount val="6"/>
                <c:pt idx="0">
                  <c:v>30.04</c:v>
                </c:pt>
                <c:pt idx="1">
                  <c:v>49.78</c:v>
                </c:pt>
                <c:pt idx="2">
                  <c:v>36.03</c:v>
                </c:pt>
                <c:pt idx="3">
                  <c:v>42.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39</c:v>
                </c:pt>
                <c:pt idx="2">
                  <c:v>IX 31</c:v>
                </c:pt>
                <c:pt idx="3">
                  <c:v>IX 94</c:v>
                </c:pt>
                <c:pt idx="4">
                  <c:v/>
                </c:pt>
                <c:pt idx="5">
                  <c:v/>
                </c:pt>
              </c:strCache>
            </c:strRef>
          </c:cat>
          <c:val>
            <c:numRef>
              <c:f>Sheet1!$D$2:$D$7</c:f>
              <c:numCache>
                <c:formatCode>General</c:formatCode>
                <c:ptCount val="6"/>
                <c:pt idx="0">
                  <c:v>80.57</c:v>
                </c:pt>
                <c:pt idx="1">
                  <c:v>127.74</c:v>
                </c:pt>
                <c:pt idx="2">
                  <c:v>116.0</c:v>
                </c:pt>
                <c:pt idx="4">
                  <c:v>238.82</c:v>
                </c:pt>
                <c:pt idx="5">
                  <c:v>51.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fgv</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39</c:v>
                </c:pt>
                <c:pt idx="2">
                  <c:v>IX 31</c:v>
                </c:pt>
                <c:pt idx="3">
                  <c:v>IX 94</c:v>
                </c:pt>
                <c:pt idx="4">
                  <c:v/>
                </c:pt>
                <c:pt idx="5">
                  <c:v/>
                </c:pt>
              </c:strCache>
            </c:strRef>
          </c:cat>
          <c:val>
            <c:numRef>
              <c:f>Sheet1!$E$2:$E$7</c:f>
              <c:numCache>
                <c:formatCode>General</c:formatCode>
                <c:ptCount val="6"/>
                <c:pt idx="0">
                  <c:v>51.06</c:v>
                </c:pt>
                <c:pt idx="2">
                  <c:v>46.39</c:v>
                </c:pt>
                <c:pt idx="5">
                  <c:v>48.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39</c:v>
                </c:pt>
                <c:pt idx="2">
                  <c:v>IX 31</c:v>
                </c:pt>
                <c:pt idx="3">
                  <c:v>IX 94</c:v>
                </c:pt>
                <c:pt idx="4">
                  <c:v/>
                </c:pt>
                <c:pt idx="5">
                  <c:v/>
                </c:pt>
              </c:strCache>
            </c:strRef>
          </c:cat>
          <c:val>
            <c:numRef>
              <c:f>Sheet1!$F$2:$F$7</c:f>
              <c:numCache>
                <c:formatCode>General</c:formatCode>
                <c:ptCount val="6"/>
                <c:pt idx="1">
                  <c:v>47.39</c:v>
                </c:pt>
                <c:pt idx="2">
                  <c:v>45.19</c:v>
                </c:pt>
                <c:pt idx="3">
                  <c:v>44.66</c:v>
                </c:pt>
                <c:pt idx="4">
                  <c:v>46.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9.3219"/>
          <c:min val="29.53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39</c:v>
                </c:pt>
                <c:pt idx="2">
                  <c:v>IX 32</c:v>
                </c:pt>
                <c:pt idx="3">
                  <c:v/>
                </c:pt>
                <c:pt idx="4">
                  <c:v>IX 94</c:v>
                </c:pt>
                <c:pt idx="5">
                  <c:v/>
                </c:pt>
              </c:strCache>
            </c:strRef>
          </c:cat>
          <c:val>
            <c:numRef>
              <c:f>Sheet1!$B$2:$B$7</c:f>
              <c:numCache>
                <c:formatCode>General</c:formatCode>
                <c:ptCount val="6"/>
                <c:pt idx="0">
                  <c:v>51.04</c:v>
                </c:pt>
                <c:pt idx="1">
                  <c:v>63.57</c:v>
                </c:pt>
                <c:pt idx="2">
                  <c:v>59.96</c:v>
                </c:pt>
                <c:pt idx="3">
                  <c:v>146.37</c:v>
                </c:pt>
                <c:pt idx="4">
                  <c:v>42.87</c:v>
                </c:pt>
                <c:pt idx="5">
                  <c:v>48.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29.17</a:t>
                    </a:r>
                  </a:p>
                </c:rich>
              </c:tx>
              <c:dLblPos val="l"/>
              <c:showLegendKey val="0"/>
              <c:showVal val="1"/>
              <c:showCatName val="0"/>
              <c:showSerName val="0"/>
              <c:showPercent val="0"/>
              <c:showBubbleSize val="0"/>
            </c:dLbl>
            <c:dLbl>
              <c:idx val="1"/>
              <c:tx>
                <c:rich>
                  <a:bodyPr/>
                  <a:lstStyle/>
                  <a:p>
                    <a:r>
                      <a:t>IX 39</a:t>
                    </a:r>
                  </a:p>
                  <a:p>
                    <a:r>
                      <a:t>50.05</a:t>
                    </a:r>
                  </a:p>
                </c:rich>
              </c:tx>
              <c:dLblPos val="l"/>
              <c:showLegendKey val="0"/>
              <c:showVal val="1"/>
              <c:showCatName val="0"/>
              <c:showSerName val="0"/>
              <c:showPercent val="0"/>
              <c:showBubbleSize val="0"/>
            </c:dLbl>
            <c:dLbl>
              <c:idx val="2"/>
              <c:tx>
                <c:rich>
                  <a:bodyPr/>
                  <a:lstStyle/>
                  <a:p>
                    <a:r>
                      <a:t>IX 32</a:t>
                    </a:r>
                  </a:p>
                  <a:p>
                    <a:r>
                      <a:t>36.2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4</a:t>
                    </a:r>
                  </a:p>
                  <a:p>
                    <a:r>
                      <a:t>41.14</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39</c:v>
                </c:pt>
                <c:pt idx="2">
                  <c:v>IX 32</c:v>
                </c:pt>
                <c:pt idx="3">
                  <c:v/>
                </c:pt>
                <c:pt idx="4">
                  <c:v>IX 94</c:v>
                </c:pt>
                <c:pt idx="5">
                  <c:v/>
                </c:pt>
              </c:strCache>
            </c:strRef>
          </c:cat>
          <c:val>
            <c:numRef>
              <c:f>Sheet1!$C$2:$C$7</c:f>
              <c:numCache>
                <c:formatCode>General</c:formatCode>
                <c:ptCount val="6"/>
                <c:pt idx="0">
                  <c:v>29.17</c:v>
                </c:pt>
                <c:pt idx="1">
                  <c:v>50.05</c:v>
                </c:pt>
                <c:pt idx="2">
                  <c:v>36.21</c:v>
                </c:pt>
                <c:pt idx="4">
                  <c:v>41.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39</c:v>
                </c:pt>
                <c:pt idx="2">
                  <c:v>IX 32</c:v>
                </c:pt>
                <c:pt idx="3">
                  <c:v/>
                </c:pt>
                <c:pt idx="4">
                  <c:v>IX 94</c:v>
                </c:pt>
                <c:pt idx="5">
                  <c:v/>
                </c:pt>
              </c:strCache>
            </c:strRef>
          </c:cat>
          <c:val>
            <c:numRef>
              <c:f>Sheet1!$D$2:$D$7</c:f>
              <c:numCache>
                <c:formatCode>General</c:formatCode>
                <c:ptCount val="6"/>
                <c:pt idx="0">
                  <c:v>80.1</c:v>
                </c:pt>
                <c:pt idx="1">
                  <c:v>127.34</c:v>
                </c:pt>
                <c:pt idx="2">
                  <c:v>112.99</c:v>
                </c:pt>
                <c:pt idx="3">
                  <c:v>231.67</c:v>
                </c:pt>
                <c:pt idx="5">
                  <c:v>54.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39</c:v>
                </c:pt>
                <c:pt idx="2">
                  <c:v>IX 32</c:v>
                </c:pt>
                <c:pt idx="3">
                  <c:v/>
                </c:pt>
                <c:pt idx="4">
                  <c:v>IX 94</c:v>
                </c:pt>
                <c:pt idx="5">
                  <c:v/>
                </c:pt>
              </c:strCache>
            </c:strRef>
          </c:cat>
          <c:val>
            <c:numRef>
              <c:f>Sheet1!$E$2:$E$7</c:f>
              <c:numCache>
                <c:formatCode>General</c:formatCode>
                <c:ptCount val="6"/>
                <c:pt idx="0">
                  <c:v>56.65</c:v>
                </c:pt>
                <c:pt idx="1">
                  <c:v>57.67</c:v>
                </c:pt>
                <c:pt idx="2">
                  <c:v>51.59</c:v>
                </c:pt>
                <c:pt idx="3">
                  <c:v>22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39</c:v>
                </c:pt>
                <c:pt idx="2">
                  <c:v>IX 32</c:v>
                </c:pt>
                <c:pt idx="3">
                  <c:v/>
                </c:pt>
                <c:pt idx="4">
                  <c:v>IX 94</c:v>
                </c:pt>
                <c:pt idx="5">
                  <c:v/>
                </c:pt>
              </c:strCache>
            </c:strRef>
          </c:cat>
          <c:val>
            <c:numRef>
              <c:f>Sheet1!$F$2:$F$7</c:f>
              <c:numCache>
                <c:formatCode>General</c:formatCode>
                <c:ptCount val="6"/>
                <c:pt idx="1">
                  <c:v>48.85</c:v>
                </c:pt>
                <c:pt idx="2">
                  <c:v>48.07</c:v>
                </c:pt>
                <c:pt idx="3">
                  <c:v>46.58</c:v>
                </c:pt>
                <c:pt idx="4">
                  <c:v>43.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2.1696"/>
          <c:min val="28.67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0</c:v>
                </c:pt>
                <c:pt idx="2">
                  <c:v>IX 21</c:v>
                </c:pt>
                <c:pt idx="3">
                  <c:v/>
                </c:pt>
                <c:pt idx="4">
                  <c:v>IX 95</c:v>
                </c:pt>
                <c:pt idx="5">
                  <c:v/>
                </c:pt>
              </c:strCache>
            </c:strRef>
          </c:cat>
          <c:val>
            <c:numRef>
              <c:f>Sheet1!$B$2:$B$7</c:f>
              <c:numCache>
                <c:formatCode>General</c:formatCode>
                <c:ptCount val="6"/>
                <c:pt idx="0">
                  <c:v>58.95</c:v>
                </c:pt>
                <c:pt idx="1">
                  <c:v>107.66</c:v>
                </c:pt>
                <c:pt idx="2">
                  <c:v>95.31</c:v>
                </c:pt>
                <c:pt idx="3">
                  <c:v>236.92</c:v>
                </c:pt>
                <c:pt idx="4">
                  <c:v>44.52</c:v>
                </c:pt>
                <c:pt idx="5">
                  <c:v>52.5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07</a:t>
                    </a:r>
                  </a:p>
                </c:rich>
              </c:tx>
              <c:dLblPos val="l"/>
              <c:showLegendKey val="0"/>
              <c:showVal val="1"/>
              <c:showCatName val="0"/>
              <c:showSerName val="0"/>
              <c:showPercent val="0"/>
              <c:showBubbleSize val="0"/>
            </c:dLbl>
            <c:dLbl>
              <c:idx val="1"/>
              <c:tx>
                <c:rich>
                  <a:bodyPr/>
                  <a:lstStyle/>
                  <a:p>
                    <a:r>
                      <a:t>IX 40</a:t>
                    </a:r>
                  </a:p>
                  <a:p>
                    <a:r>
                      <a:t>53.23</a:t>
                    </a:r>
                  </a:p>
                </c:rich>
              </c:tx>
              <c:dLblPos val="l"/>
              <c:showLegendKey val="0"/>
              <c:showVal val="1"/>
              <c:showCatName val="0"/>
              <c:showSerName val="0"/>
              <c:showPercent val="0"/>
              <c:showBubbleSize val="0"/>
            </c:dLbl>
            <c:dLbl>
              <c:idx val="2"/>
              <c:tx>
                <c:rich>
                  <a:bodyPr/>
                  <a:lstStyle/>
                  <a:p>
                    <a:r>
                      <a:t>IX 21</a:t>
                    </a:r>
                  </a:p>
                  <a:p>
                    <a:r>
                      <a:t>37.5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5</a:t>
                    </a:r>
                  </a:p>
                  <a:p>
                    <a:r>
                      <a:t>42.5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0</c:v>
                </c:pt>
                <c:pt idx="2">
                  <c:v>IX 21</c:v>
                </c:pt>
                <c:pt idx="3">
                  <c:v/>
                </c:pt>
                <c:pt idx="4">
                  <c:v>IX 95</c:v>
                </c:pt>
                <c:pt idx="5">
                  <c:v/>
                </c:pt>
              </c:strCache>
            </c:strRef>
          </c:cat>
          <c:val>
            <c:numRef>
              <c:f>Sheet1!$C$2:$C$7</c:f>
              <c:numCache>
                <c:formatCode>General</c:formatCode>
                <c:ptCount val="6"/>
                <c:pt idx="0">
                  <c:v>30.07</c:v>
                </c:pt>
                <c:pt idx="1">
                  <c:v>53.23</c:v>
                </c:pt>
                <c:pt idx="2">
                  <c:v>37.55</c:v>
                </c:pt>
                <c:pt idx="4">
                  <c:v>42.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0</c:v>
                </c:pt>
                <c:pt idx="2">
                  <c:v>IX 21</c:v>
                </c:pt>
                <c:pt idx="3">
                  <c:v/>
                </c:pt>
                <c:pt idx="4">
                  <c:v>IX 95</c:v>
                </c:pt>
                <c:pt idx="5">
                  <c:v/>
                </c:pt>
              </c:strCache>
            </c:strRef>
          </c:cat>
          <c:val>
            <c:numRef>
              <c:f>Sheet1!$D$2:$D$7</c:f>
              <c:numCache>
                <c:formatCode>General</c:formatCode>
                <c:ptCount val="6"/>
                <c:pt idx="0">
                  <c:v>81.93</c:v>
                </c:pt>
                <c:pt idx="1">
                  <c:v>132.19</c:v>
                </c:pt>
                <c:pt idx="2">
                  <c:v>180.12</c:v>
                </c:pt>
                <c:pt idx="3">
                  <c:v>296.67</c:v>
                </c:pt>
                <c:pt idx="5">
                  <c:v>62.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0</c:v>
                </c:pt>
                <c:pt idx="2">
                  <c:v>IX 21</c:v>
                </c:pt>
                <c:pt idx="3">
                  <c:v/>
                </c:pt>
                <c:pt idx="4">
                  <c:v>IX 95</c:v>
                </c:pt>
                <c:pt idx="5">
                  <c:v/>
                </c:pt>
              </c:strCache>
            </c:strRef>
          </c:cat>
          <c:val>
            <c:numRef>
              <c:f>Sheet1!$E$2:$E$7</c:f>
              <c:numCache>
                <c:formatCode>General</c:formatCode>
                <c:ptCount val="6"/>
                <c:pt idx="0">
                  <c:v>55.79</c:v>
                </c:pt>
                <c:pt idx="1">
                  <c:v>63.08</c:v>
                </c:pt>
                <c:pt idx="2">
                  <c:v>56.94</c:v>
                </c:pt>
                <c:pt idx="3">
                  <c:v>253.3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0</c:v>
                </c:pt>
                <c:pt idx="2">
                  <c:v>IX 21</c:v>
                </c:pt>
                <c:pt idx="3">
                  <c:v/>
                </c:pt>
                <c:pt idx="4">
                  <c:v>IX 95</c:v>
                </c:pt>
                <c:pt idx="5">
                  <c:v/>
                </c:pt>
              </c:strCache>
            </c:strRef>
          </c:cat>
          <c:val>
            <c:numRef>
              <c:f>Sheet1!$F$2:$F$7</c:f>
              <c:numCache>
                <c:formatCode>General</c:formatCode>
                <c:ptCount val="6"/>
                <c:pt idx="1">
                  <c:v>50.86</c:v>
                </c:pt>
                <c:pt idx="2">
                  <c:v>50.88</c:v>
                </c:pt>
                <c:pt idx="3">
                  <c:v>52.81</c:v>
                </c:pt>
                <c:pt idx="4">
                  <c:v>44.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7.167"/>
          <c:min val="29.57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30</c:v>
                </c:pt>
                <c:pt idx="3">
                  <c:v>IX 96</c:v>
                </c:pt>
                <c:pt idx="4">
                  <c:v/>
                </c:pt>
                <c:pt idx="5">
                  <c:v/>
                </c:pt>
              </c:strCache>
            </c:strRef>
          </c:cat>
          <c:val>
            <c:numRef>
              <c:f>Sheet1!$B$2:$B$7</c:f>
              <c:numCache>
                <c:formatCode>General</c:formatCode>
                <c:ptCount val="6"/>
                <c:pt idx="0">
                  <c:v>56.63</c:v>
                </c:pt>
                <c:pt idx="1">
                  <c:v>101.09</c:v>
                </c:pt>
                <c:pt idx="2">
                  <c:v>72.15</c:v>
                </c:pt>
                <c:pt idx="3">
                  <c:v>44.57</c:v>
                </c:pt>
                <c:pt idx="4">
                  <c:v>51.44</c:v>
                </c:pt>
                <c:pt idx="5">
                  <c:v>183.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09</a:t>
                    </a:r>
                  </a:p>
                </c:rich>
              </c:tx>
              <c:dLblPos val="l"/>
              <c:showLegendKey val="0"/>
              <c:showVal val="1"/>
              <c:showCatName val="0"/>
              <c:showSerName val="0"/>
              <c:showPercent val="0"/>
              <c:showBubbleSize val="0"/>
            </c:dLbl>
            <c:dLbl>
              <c:idx val="1"/>
              <c:tx>
                <c:rich>
                  <a:bodyPr/>
                  <a:lstStyle/>
                  <a:p>
                    <a:r>
                      <a:t>IX 41</a:t>
                    </a:r>
                  </a:p>
                  <a:p>
                    <a:r>
                      <a:t>52.79</a:t>
                    </a:r>
                  </a:p>
                </c:rich>
              </c:tx>
              <c:dLblPos val="l"/>
              <c:showLegendKey val="0"/>
              <c:showVal val="1"/>
              <c:showCatName val="0"/>
              <c:showSerName val="0"/>
              <c:showPercent val="0"/>
              <c:showBubbleSize val="0"/>
            </c:dLbl>
            <c:dLbl>
              <c:idx val="2"/>
              <c:tx>
                <c:rich>
                  <a:bodyPr/>
                  <a:lstStyle/>
                  <a:p>
                    <a:r>
                      <a:t>IX 30</a:t>
                    </a:r>
                  </a:p>
                  <a:p>
                    <a:r>
                      <a:t>38.01</a:t>
                    </a:r>
                  </a:p>
                </c:rich>
              </c:tx>
              <c:dLblPos val="l"/>
              <c:showLegendKey val="0"/>
              <c:showVal val="1"/>
              <c:showCatName val="0"/>
              <c:showSerName val="0"/>
              <c:showPercent val="0"/>
              <c:showBubbleSize val="0"/>
            </c:dLbl>
            <c:dLbl>
              <c:idx val="3"/>
              <c:tx>
                <c:rich>
                  <a:bodyPr/>
                  <a:lstStyle/>
                  <a:p>
                    <a:r>
                      <a:t>IX 96</a:t>
                    </a:r>
                  </a:p>
                  <a:p>
                    <a:r>
                      <a:t>42.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30</c:v>
                </c:pt>
                <c:pt idx="3">
                  <c:v>IX 96</c:v>
                </c:pt>
                <c:pt idx="4">
                  <c:v/>
                </c:pt>
                <c:pt idx="5">
                  <c:v/>
                </c:pt>
              </c:strCache>
            </c:strRef>
          </c:cat>
          <c:val>
            <c:numRef>
              <c:f>Sheet1!$C$2:$C$7</c:f>
              <c:numCache>
                <c:formatCode>General</c:formatCode>
                <c:ptCount val="6"/>
                <c:pt idx="0">
                  <c:v>30.09</c:v>
                </c:pt>
                <c:pt idx="1">
                  <c:v>52.79</c:v>
                </c:pt>
                <c:pt idx="2">
                  <c:v>38.01</c:v>
                </c:pt>
                <c:pt idx="3">
                  <c:v>42.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30</c:v>
                </c:pt>
                <c:pt idx="3">
                  <c:v>IX 96</c:v>
                </c:pt>
                <c:pt idx="4">
                  <c:v/>
                </c:pt>
                <c:pt idx="5">
                  <c:v/>
                </c:pt>
              </c:strCache>
            </c:strRef>
          </c:cat>
          <c:val>
            <c:numRef>
              <c:f>Sheet1!$D$2:$D$7</c:f>
              <c:numCache>
                <c:formatCode>General</c:formatCode>
                <c:ptCount val="6"/>
                <c:pt idx="0">
                  <c:v>81.23</c:v>
                </c:pt>
                <c:pt idx="1">
                  <c:v>130.11</c:v>
                </c:pt>
                <c:pt idx="2">
                  <c:v>128.61</c:v>
                </c:pt>
                <c:pt idx="4">
                  <c:v>62.72</c:v>
                </c:pt>
                <c:pt idx="5">
                  <c:v>252.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30</c:v>
                </c:pt>
                <c:pt idx="3">
                  <c:v>IX 96</c:v>
                </c:pt>
                <c:pt idx="4">
                  <c:v/>
                </c:pt>
                <c:pt idx="5">
                  <c:v/>
                </c:pt>
              </c:strCache>
            </c:strRef>
          </c:cat>
          <c:val>
            <c:numRef>
              <c:f>Sheet1!$E$2:$E$7</c:f>
              <c:numCache>
                <c:formatCode>General</c:formatCode>
                <c:ptCount val="6"/>
                <c:pt idx="0">
                  <c:v>55.73</c:v>
                </c:pt>
                <c:pt idx="2">
                  <c:v>55.58</c:v>
                </c:pt>
                <c:pt idx="5">
                  <c:v>230.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30</c:v>
                </c:pt>
                <c:pt idx="3">
                  <c:v>IX 96</c:v>
                </c:pt>
                <c:pt idx="4">
                  <c:v/>
                </c:pt>
                <c:pt idx="5">
                  <c:v/>
                </c:pt>
              </c:strCache>
            </c:strRef>
          </c:cat>
          <c:val>
            <c:numRef>
              <c:f>Sheet1!$F$2:$F$7</c:f>
              <c:numCache>
                <c:formatCode>General</c:formatCode>
                <c:ptCount val="6"/>
                <c:pt idx="1">
                  <c:v>51.13</c:v>
                </c:pt>
                <c:pt idx="2">
                  <c:v>50.23</c:v>
                </c:pt>
                <c:pt idx="3">
                  <c:v>44.76</c:v>
                </c:pt>
                <c:pt idx="5">
                  <c:v>5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3.0561"/>
          <c:min val="29.59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IX 99</c:v>
                </c:pt>
                <c:pt idx="4">
                  <c:v/>
                </c:pt>
                <c:pt idx="5">
                  <c:v/>
                </c:pt>
              </c:strCache>
            </c:strRef>
          </c:cat>
          <c:val>
            <c:numRef>
              <c:f>Sheet1!$B$2:$B$7</c:f>
              <c:numCache>
                <c:formatCode>General</c:formatCode>
                <c:ptCount val="6"/>
                <c:pt idx="0">
                  <c:v>56.06</c:v>
                </c:pt>
                <c:pt idx="1">
                  <c:v>100.54</c:v>
                </c:pt>
                <c:pt idx="2">
                  <c:v>72.54</c:v>
                </c:pt>
                <c:pt idx="3">
                  <c:v>44.55</c:v>
                </c:pt>
                <c:pt idx="4">
                  <c:v>51.11</c:v>
                </c:pt>
                <c:pt idx="5">
                  <c:v>202.3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14</a:t>
                    </a:r>
                  </a:p>
                </c:rich>
              </c:tx>
              <c:dLblPos val="l"/>
              <c:showLegendKey val="0"/>
              <c:showVal val="1"/>
              <c:showCatName val="0"/>
              <c:showSerName val="0"/>
              <c:showPercent val="0"/>
              <c:showBubbleSize val="0"/>
            </c:dLbl>
            <c:dLbl>
              <c:idx val="1"/>
              <c:tx>
                <c:rich>
                  <a:bodyPr/>
                  <a:lstStyle/>
                  <a:p>
                    <a:r>
                      <a:t>IX 41</a:t>
                    </a:r>
                  </a:p>
                  <a:p>
                    <a:r>
                      <a:t>53.87</a:t>
                    </a:r>
                  </a:p>
                </c:rich>
              </c:tx>
              <c:dLblPos val="l"/>
              <c:showLegendKey val="0"/>
              <c:showVal val="1"/>
              <c:showCatName val="0"/>
              <c:showSerName val="0"/>
              <c:showPercent val="0"/>
              <c:showBubbleSize val="0"/>
            </c:dLbl>
            <c:dLbl>
              <c:idx val="2"/>
              <c:tx>
                <c:rich>
                  <a:bodyPr/>
                  <a:lstStyle/>
                  <a:p>
                    <a:r>
                      <a:t>IX 28</a:t>
                    </a:r>
                  </a:p>
                  <a:p>
                    <a:r>
                      <a:t>38.19</a:t>
                    </a:r>
                  </a:p>
                </c:rich>
              </c:tx>
              <c:dLblPos val="l"/>
              <c:showLegendKey val="0"/>
              <c:showVal val="1"/>
              <c:showCatName val="0"/>
              <c:showSerName val="0"/>
              <c:showPercent val="0"/>
              <c:showBubbleSize val="0"/>
            </c:dLbl>
            <c:dLbl>
              <c:idx val="3"/>
              <c:tx>
                <c:rich>
                  <a:bodyPr/>
                  <a:lstStyle/>
                  <a:p>
                    <a:r>
                      <a:t>IX 99</a:t>
                    </a:r>
                  </a:p>
                  <a:p>
                    <a:r>
                      <a:t>44.1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IX 99</c:v>
                </c:pt>
                <c:pt idx="4">
                  <c:v/>
                </c:pt>
                <c:pt idx="5">
                  <c:v/>
                </c:pt>
              </c:strCache>
            </c:strRef>
          </c:cat>
          <c:val>
            <c:numRef>
              <c:f>Sheet1!$C$2:$C$7</c:f>
              <c:numCache>
                <c:formatCode>General</c:formatCode>
                <c:ptCount val="6"/>
                <c:pt idx="0">
                  <c:v>30.14</c:v>
                </c:pt>
                <c:pt idx="1">
                  <c:v>53.87</c:v>
                </c:pt>
                <c:pt idx="2">
                  <c:v>38.19</c:v>
                </c:pt>
                <c:pt idx="3">
                  <c:v>44.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IX 99</c:v>
                </c:pt>
                <c:pt idx="4">
                  <c:v/>
                </c:pt>
                <c:pt idx="5">
                  <c:v/>
                </c:pt>
              </c:strCache>
            </c:strRef>
          </c:cat>
          <c:val>
            <c:numRef>
              <c:f>Sheet1!$D$2:$D$7</c:f>
              <c:numCache>
                <c:formatCode>General</c:formatCode>
                <c:ptCount val="6"/>
                <c:pt idx="0">
                  <c:v>81.5</c:v>
                </c:pt>
                <c:pt idx="1">
                  <c:v>130.11</c:v>
                </c:pt>
                <c:pt idx="2">
                  <c:v>134.06</c:v>
                </c:pt>
                <c:pt idx="4">
                  <c:v>62.87</c:v>
                </c:pt>
                <c:pt idx="5">
                  <c:v>245.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IX 99</c:v>
                </c:pt>
                <c:pt idx="4">
                  <c:v/>
                </c:pt>
                <c:pt idx="5">
                  <c:v/>
                </c:pt>
              </c:strCache>
            </c:strRef>
          </c:cat>
          <c:val>
            <c:numRef>
              <c:f>Sheet1!$E$2:$E$7</c:f>
              <c:numCache>
                <c:formatCode>General</c:formatCode>
                <c:ptCount val="6"/>
                <c:pt idx="0">
                  <c:v>55.06</c:v>
                </c:pt>
                <c:pt idx="1">
                  <c:v>50.0</c:v>
                </c:pt>
                <c:pt idx="2">
                  <c:v>55.85</c:v>
                </c:pt>
                <c:pt idx="5">
                  <c:v>231.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IX 99</c:v>
                </c:pt>
                <c:pt idx="4">
                  <c:v/>
                </c:pt>
                <c:pt idx="5">
                  <c:v/>
                </c:pt>
              </c:strCache>
            </c:strRef>
          </c:cat>
          <c:val>
            <c:numRef>
              <c:f>Sheet1!$F$2:$F$7</c:f>
              <c:numCache>
                <c:formatCode>General</c:formatCode>
                <c:ptCount val="6"/>
                <c:pt idx="1">
                  <c:v>51.09</c:v>
                </c:pt>
                <c:pt idx="2">
                  <c:v>50.67</c:v>
                </c:pt>
                <c:pt idx="3">
                  <c:v>44.69</c:v>
                </c:pt>
                <c:pt idx="5">
                  <c:v>51.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5.9811"/>
          <c:min val="29.63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97</c:v>
                </c:pt>
                <c:pt idx="4">
                  <c:v/>
                </c:pt>
                <c:pt idx="5">
                  <c:v/>
                </c:pt>
              </c:strCache>
            </c:strRef>
          </c:cat>
          <c:val>
            <c:numRef>
              <c:f>Sheet1!$B$2:$B$7</c:f>
              <c:numCache>
                <c:formatCode>General</c:formatCode>
                <c:ptCount val="6"/>
                <c:pt idx="0">
                  <c:v>56.51</c:v>
                </c:pt>
                <c:pt idx="1">
                  <c:v>101.08</c:v>
                </c:pt>
                <c:pt idx="2">
                  <c:v>70.75</c:v>
                </c:pt>
                <c:pt idx="3">
                  <c:v>44.48</c:v>
                </c:pt>
                <c:pt idx="4">
                  <c:v>51.2</c:v>
                </c:pt>
                <c:pt idx="5">
                  <c:v>181.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31</a:t>
                    </a:r>
                  </a:p>
                </c:rich>
              </c:tx>
              <c:dLblPos val="l"/>
              <c:showLegendKey val="0"/>
              <c:showVal val="1"/>
              <c:showCatName val="0"/>
              <c:showSerName val="0"/>
              <c:showPercent val="0"/>
              <c:showBubbleSize val="0"/>
            </c:dLbl>
            <c:dLbl>
              <c:idx val="1"/>
              <c:tx>
                <c:rich>
                  <a:bodyPr/>
                  <a:lstStyle/>
                  <a:p>
                    <a:r>
                      <a:t>IX 41</a:t>
                    </a:r>
                  </a:p>
                  <a:p>
                    <a:r>
                      <a:t>52.66</a:t>
                    </a:r>
                  </a:p>
                </c:rich>
              </c:tx>
              <c:dLblPos val="l"/>
              <c:showLegendKey val="0"/>
              <c:showVal val="1"/>
              <c:showCatName val="0"/>
              <c:showSerName val="0"/>
              <c:showPercent val="0"/>
              <c:showBubbleSize val="0"/>
            </c:dLbl>
            <c:dLbl>
              <c:idx val="2"/>
              <c:tx>
                <c:rich>
                  <a:bodyPr/>
                  <a:lstStyle/>
                  <a:p>
                    <a:r>
                      <a:t>IX 29</a:t>
                    </a:r>
                  </a:p>
                  <a:p>
                    <a:r>
                      <a:t>37.95</a:t>
                    </a:r>
                  </a:p>
                </c:rich>
              </c:tx>
              <c:dLblPos val="l"/>
              <c:showLegendKey val="0"/>
              <c:showVal val="1"/>
              <c:showCatName val="0"/>
              <c:showSerName val="0"/>
              <c:showPercent val="0"/>
              <c:showBubbleSize val="0"/>
            </c:dLbl>
            <c:dLbl>
              <c:idx val="3"/>
              <c:tx>
                <c:rich>
                  <a:bodyPr/>
                  <a:lstStyle/>
                  <a:p>
                    <a:r>
                      <a:t>IX 97</a:t>
                    </a:r>
                  </a:p>
                  <a:p>
                    <a:r>
                      <a:t>43.4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97</c:v>
                </c:pt>
                <c:pt idx="4">
                  <c:v/>
                </c:pt>
                <c:pt idx="5">
                  <c:v/>
                </c:pt>
              </c:strCache>
            </c:strRef>
          </c:cat>
          <c:val>
            <c:numRef>
              <c:f>Sheet1!$C$2:$C$7</c:f>
              <c:numCache>
                <c:formatCode>General</c:formatCode>
                <c:ptCount val="6"/>
                <c:pt idx="0">
                  <c:v>30.31</c:v>
                </c:pt>
                <c:pt idx="1">
                  <c:v>52.66</c:v>
                </c:pt>
                <c:pt idx="2">
                  <c:v>37.95</c:v>
                </c:pt>
                <c:pt idx="3">
                  <c:v>4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97</c:v>
                </c:pt>
                <c:pt idx="4">
                  <c:v/>
                </c:pt>
                <c:pt idx="5">
                  <c:v/>
                </c:pt>
              </c:strCache>
            </c:strRef>
          </c:cat>
          <c:val>
            <c:numRef>
              <c:f>Sheet1!$D$2:$D$7</c:f>
              <c:numCache>
                <c:formatCode>General</c:formatCode>
                <c:ptCount val="6"/>
                <c:pt idx="0">
                  <c:v>81.17</c:v>
                </c:pt>
                <c:pt idx="1">
                  <c:v>129.57</c:v>
                </c:pt>
                <c:pt idx="2">
                  <c:v>128.76</c:v>
                </c:pt>
                <c:pt idx="4">
                  <c:v>62.77</c:v>
                </c:pt>
                <c:pt idx="5">
                  <c:v>228.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97</c:v>
                </c:pt>
                <c:pt idx="4">
                  <c:v/>
                </c:pt>
                <c:pt idx="5">
                  <c:v/>
                </c:pt>
              </c:strCache>
            </c:strRef>
          </c:cat>
          <c:val>
            <c:numRef>
              <c:f>Sheet1!$E$2:$E$7</c:f>
              <c:numCache>
                <c:formatCode>General</c:formatCode>
                <c:ptCount val="6"/>
                <c:pt idx="0">
                  <c:v>55.19</c:v>
                </c:pt>
                <c:pt idx="1">
                  <c:v>50.0</c:v>
                </c:pt>
                <c:pt idx="2">
                  <c:v>55.96</c:v>
                </c:pt>
                <c:pt idx="5">
                  <c:v>236.7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97</c:v>
                </c:pt>
                <c:pt idx="4">
                  <c:v/>
                </c:pt>
                <c:pt idx="5">
                  <c:v/>
                </c:pt>
              </c:strCache>
            </c:strRef>
          </c:cat>
          <c:val>
            <c:numRef>
              <c:f>Sheet1!$F$2:$F$7</c:f>
              <c:numCache>
                <c:formatCode>General</c:formatCode>
                <c:ptCount val="6"/>
                <c:pt idx="0">
                  <c:v>73.33</c:v>
                </c:pt>
                <c:pt idx="1">
                  <c:v>50.78</c:v>
                </c:pt>
                <c:pt idx="2">
                  <c:v>51.06</c:v>
                </c:pt>
                <c:pt idx="3">
                  <c:v>44.61</c:v>
                </c:pt>
                <c:pt idx="4">
                  <c:v>29.0</c:v>
                </c:pt>
                <c:pt idx="5">
                  <c:v>51.9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7.2222"/>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3</c:v>
                </c:pt>
                <c:pt idx="4">
                  <c:v/>
                </c:pt>
                <c:pt idx="5">
                  <c:v/>
                </c:pt>
              </c:strCache>
            </c:strRef>
          </c:cat>
          <c:val>
            <c:numRef>
              <c:f>Sheet1!$B$2:$B$7</c:f>
              <c:numCache>
                <c:formatCode>General</c:formatCode>
                <c:ptCount val="6"/>
                <c:pt idx="0">
                  <c:v>55.49</c:v>
                </c:pt>
                <c:pt idx="1">
                  <c:v>96.27</c:v>
                </c:pt>
                <c:pt idx="2">
                  <c:v>69.29</c:v>
                </c:pt>
                <c:pt idx="3">
                  <c:v>44.58</c:v>
                </c:pt>
                <c:pt idx="4">
                  <c:v>50.96</c:v>
                </c:pt>
                <c:pt idx="5">
                  <c:v>141.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19</a:t>
                    </a:r>
                  </a:p>
                </c:rich>
              </c:tx>
              <c:dLblPos val="l"/>
              <c:showLegendKey val="0"/>
              <c:showVal val="1"/>
              <c:showCatName val="0"/>
              <c:showSerName val="0"/>
              <c:showPercent val="0"/>
              <c:showBubbleSize val="0"/>
            </c:dLbl>
            <c:dLbl>
              <c:idx val="1"/>
              <c:tx>
                <c:rich>
                  <a:bodyPr/>
                  <a:lstStyle/>
                  <a:p>
                    <a:r>
                      <a:t>IX 41</a:t>
                    </a:r>
                  </a:p>
                  <a:p>
                    <a:r>
                      <a:t>52.91</a:t>
                    </a:r>
                  </a:p>
                </c:rich>
              </c:tx>
              <c:dLblPos val="l"/>
              <c:showLegendKey val="0"/>
              <c:showVal val="1"/>
              <c:showCatName val="0"/>
              <c:showSerName val="0"/>
              <c:showPercent val="0"/>
              <c:showBubbleSize val="0"/>
            </c:dLbl>
            <c:dLbl>
              <c:idx val="2"/>
              <c:tx>
                <c:rich>
                  <a:bodyPr/>
                  <a:lstStyle/>
                  <a:p>
                    <a:r>
                      <a:t>IX 29</a:t>
                    </a:r>
                  </a:p>
                  <a:p>
                    <a:r>
                      <a:t>37.22</a:t>
                    </a:r>
                  </a:p>
                </c:rich>
              </c:tx>
              <c:dLblPos val="l"/>
              <c:showLegendKey val="0"/>
              <c:showVal val="1"/>
              <c:showCatName val="0"/>
              <c:showSerName val="0"/>
              <c:showPercent val="0"/>
              <c:showBubbleSize val="0"/>
            </c:dLbl>
            <c:dLbl>
              <c:idx val="3"/>
              <c:tx>
                <c:rich>
                  <a:bodyPr/>
                  <a:lstStyle/>
                  <a:p>
                    <a:r>
                      <a:t>IX 103</a:t>
                    </a:r>
                  </a:p>
                  <a:p>
                    <a:r>
                      <a:t>45.7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3</c:v>
                </c:pt>
                <c:pt idx="4">
                  <c:v/>
                </c:pt>
                <c:pt idx="5">
                  <c:v/>
                </c:pt>
              </c:strCache>
            </c:strRef>
          </c:cat>
          <c:val>
            <c:numRef>
              <c:f>Sheet1!$C$2:$C$7</c:f>
              <c:numCache>
                <c:formatCode>General</c:formatCode>
                <c:ptCount val="6"/>
                <c:pt idx="0">
                  <c:v>30.19</c:v>
                </c:pt>
                <c:pt idx="1">
                  <c:v>52.91</c:v>
                </c:pt>
                <c:pt idx="2">
                  <c:v>37.22</c:v>
                </c:pt>
                <c:pt idx="3">
                  <c:v>45.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3</c:v>
                </c:pt>
                <c:pt idx="4">
                  <c:v/>
                </c:pt>
                <c:pt idx="5">
                  <c:v/>
                </c:pt>
              </c:strCache>
            </c:strRef>
          </c:cat>
          <c:val>
            <c:numRef>
              <c:f>Sheet1!$D$2:$D$7</c:f>
              <c:numCache>
                <c:formatCode>General</c:formatCode>
                <c:ptCount val="6"/>
                <c:pt idx="0">
                  <c:v>81.01</c:v>
                </c:pt>
                <c:pt idx="1">
                  <c:v>129.34</c:v>
                </c:pt>
                <c:pt idx="2">
                  <c:v>127.54</c:v>
                </c:pt>
                <c:pt idx="4">
                  <c:v>62.86</c:v>
                </c:pt>
                <c:pt idx="5">
                  <c:v>211.8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3</c:v>
                </c:pt>
                <c:pt idx="4">
                  <c:v/>
                </c:pt>
                <c:pt idx="5">
                  <c:v/>
                </c:pt>
              </c:strCache>
            </c:strRef>
          </c:cat>
          <c:val>
            <c:numRef>
              <c:f>Sheet1!$E$2:$E$7</c:f>
              <c:numCache>
                <c:formatCode>General</c:formatCode>
                <c:ptCount val="6"/>
                <c:pt idx="0">
                  <c:v>54.11</c:v>
                </c:pt>
                <c:pt idx="1">
                  <c:v>57.67</c:v>
                </c:pt>
                <c:pt idx="2">
                  <c:v>57.17</c:v>
                </c:pt>
                <c:pt idx="5">
                  <c:v>201.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3</c:v>
                </c:pt>
                <c:pt idx="4">
                  <c:v/>
                </c:pt>
                <c:pt idx="5">
                  <c:v/>
                </c:pt>
              </c:strCache>
            </c:strRef>
          </c:cat>
          <c:val>
            <c:numRef>
              <c:f>Sheet1!$F$2:$F$7</c:f>
              <c:numCache>
                <c:formatCode>General</c:formatCode>
                <c:ptCount val="6"/>
                <c:pt idx="1">
                  <c:v>50.9</c:v>
                </c:pt>
                <c:pt idx="2">
                  <c:v>50.44</c:v>
                </c:pt>
                <c:pt idx="3">
                  <c:v>44.58</c:v>
                </c:pt>
                <c:pt idx="5">
                  <c:v>51.9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2.3308"/>
          <c:min val="29.691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B$2:$B$4</c:f>
              <c:numCache>
                <c:formatCode>General</c:formatCode>
                <c:ptCount val="3"/>
                <c:pt idx="0">
                  <c:v>53.49</c:v>
                </c:pt>
                <c:pt idx="1">
                  <c:v>15.44</c:v>
                </c:pt>
                <c:pt idx="2">
                  <c:v>22.9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30.8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C$2:$C$4</c:f>
              <c:numCache>
                <c:formatCode>General</c:formatCode>
                <c:ptCount val="3"/>
                <c:pt idx="0">
                  <c:v>30.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r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D$2:$D$4</c:f>
              <c:numCache>
                <c:formatCode>General</c:formatCode>
                <c:ptCount val="3"/>
                <c:pt idx="1">
                  <c:v>24.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E$2:$E$4</c:f>
              <c:numCache>
                <c:formatCode>General</c:formatCode>
                <c:ptCount val="3"/>
                <c:pt idx="2">
                  <c:v>15.6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F$2:$F$4</c:f>
              <c:numCache>
                <c:formatCode>General</c:formatCode>
                <c:ptCount val="3"/>
                <c:pt idx="1">
                  <c:v>18.06</c:v>
                </c:pt>
                <c:pt idx="2">
                  <c:v>39.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9887"/>
          <c:min val="14.93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9</c:v>
                </c:pt>
                <c:pt idx="1">
                  <c:v>IX 95</c:v>
                </c:pt>
                <c:pt idx="2">
                  <c:v>IX 135</c:v>
                </c:pt>
                <c:pt idx="3">
                  <c:v/>
                </c:pt>
                <c:pt idx="4">
                  <c:v>IX 112</c:v>
                </c:pt>
                <c:pt idx="5">
                  <c:v/>
                </c:pt>
              </c:strCache>
            </c:strRef>
          </c:cat>
          <c:val>
            <c:numRef>
              <c:f>Sheet1!$B$2:$B$7</c:f>
              <c:numCache>
                <c:formatCode>General</c:formatCode>
                <c:ptCount val="6"/>
                <c:pt idx="0">
                  <c:v>26.26</c:v>
                </c:pt>
                <c:pt idx="1">
                  <c:v>41.82</c:v>
                </c:pt>
                <c:pt idx="2">
                  <c:v>68.85</c:v>
                </c:pt>
                <c:pt idx="3">
                  <c:v>43.27</c:v>
                </c:pt>
                <c:pt idx="4">
                  <c:v>44.69</c:v>
                </c:pt>
                <c:pt idx="5">
                  <c:v>199.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30.16</a:t>
                    </a:r>
                  </a:p>
                </c:rich>
              </c:tx>
              <c:dLblPos val="l"/>
              <c:showLegendKey val="0"/>
              <c:showVal val="1"/>
              <c:showCatName val="0"/>
              <c:showSerName val="0"/>
              <c:showPercent val="0"/>
              <c:showBubbleSize val="0"/>
            </c:dLbl>
            <c:dLbl>
              <c:idx val="1"/>
              <c:tx>
                <c:rich>
                  <a:bodyPr/>
                  <a:lstStyle/>
                  <a:p>
                    <a:r>
                      <a:t>IX 95</a:t>
                    </a:r>
                  </a:p>
                  <a:p>
                    <a:r>
                      <a:t>38.0</a:t>
                    </a:r>
                  </a:p>
                </c:rich>
              </c:tx>
              <c:dLblPos val="l"/>
              <c:showLegendKey val="0"/>
              <c:showVal val="1"/>
              <c:showCatName val="0"/>
              <c:showSerName val="0"/>
              <c:showPercent val="0"/>
              <c:showBubbleSize val="0"/>
            </c:dLbl>
            <c:dLbl>
              <c:idx val="2"/>
              <c:tx>
                <c:rich>
                  <a:bodyPr/>
                  <a:lstStyle/>
                  <a:p>
                    <a:r>
                      <a:t>IX 135</a:t>
                    </a:r>
                  </a:p>
                  <a:p>
                    <a:r>
                      <a:t>55.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2</a:t>
                    </a:r>
                  </a:p>
                  <a:p>
                    <a:r>
                      <a:t>49.9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9</c:v>
                </c:pt>
                <c:pt idx="1">
                  <c:v>IX 95</c:v>
                </c:pt>
                <c:pt idx="2">
                  <c:v>IX 135</c:v>
                </c:pt>
                <c:pt idx="3">
                  <c:v/>
                </c:pt>
                <c:pt idx="4">
                  <c:v>IX 112</c:v>
                </c:pt>
                <c:pt idx="5">
                  <c:v/>
                </c:pt>
              </c:strCache>
            </c:strRef>
          </c:cat>
          <c:val>
            <c:numRef>
              <c:f>Sheet1!$C$2:$C$7</c:f>
              <c:numCache>
                <c:formatCode>General</c:formatCode>
                <c:ptCount val="6"/>
                <c:pt idx="0">
                  <c:v>30.16</c:v>
                </c:pt>
                <c:pt idx="1">
                  <c:v>38.0</c:v>
                </c:pt>
                <c:pt idx="2">
                  <c:v>55.1</c:v>
                </c:pt>
                <c:pt idx="4">
                  <c:v>49.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colas Feuilla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9</c:v>
                </c:pt>
                <c:pt idx="1">
                  <c:v>IX 95</c:v>
                </c:pt>
                <c:pt idx="2">
                  <c:v>IX 135</c:v>
                </c:pt>
                <c:pt idx="3">
                  <c:v/>
                </c:pt>
                <c:pt idx="4">
                  <c:v>IX 112</c:v>
                </c:pt>
                <c:pt idx="5">
                  <c:v/>
                </c:pt>
              </c:strCache>
            </c:strRef>
          </c:cat>
          <c:val>
            <c:numRef>
              <c:f>Sheet1!$D$2:$D$7</c:f>
              <c:numCache>
                <c:formatCode>General</c:formatCode>
                <c:ptCount val="6"/>
                <c:pt idx="0">
                  <c:v>27.74</c:v>
                </c:pt>
                <c:pt idx="1">
                  <c:v>39.83</c:v>
                </c:pt>
                <c:pt idx="3">
                  <c:v>48.71</c:v>
                </c:pt>
                <c:pt idx="5">
                  <c:v>175.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nard Duchê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9</c:v>
                </c:pt>
                <c:pt idx="1">
                  <c:v>IX 95</c:v>
                </c:pt>
                <c:pt idx="2">
                  <c:v>IX 135</c:v>
                </c:pt>
                <c:pt idx="3">
                  <c:v/>
                </c:pt>
                <c:pt idx="4">
                  <c:v>IX 112</c:v>
                </c:pt>
                <c:pt idx="5">
                  <c:v/>
                </c:pt>
              </c:strCache>
            </c:strRef>
          </c:cat>
          <c:val>
            <c:numRef>
              <c:f>Sheet1!$E$2:$E$7</c:f>
              <c:numCache>
                <c:formatCode>General</c:formatCode>
                <c:ptCount val="6"/>
                <c:pt idx="0">
                  <c:v>32.32</c:v>
                </c:pt>
                <c:pt idx="1">
                  <c:v>38.15</c:v>
                </c:pt>
                <c:pt idx="2">
                  <c:v>40.95</c:v>
                </c:pt>
                <c:pt idx="3">
                  <c:v>40.29</c:v>
                </c:pt>
                <c:pt idx="5">
                  <c:v>110.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9</c:v>
                </c:pt>
                <c:pt idx="1">
                  <c:v>IX 95</c:v>
                </c:pt>
                <c:pt idx="2">
                  <c:v>IX 135</c:v>
                </c:pt>
                <c:pt idx="3">
                  <c:v/>
                </c:pt>
                <c:pt idx="4">
                  <c:v>IX 112</c:v>
                </c:pt>
                <c:pt idx="5">
                  <c:v/>
                </c:pt>
              </c:strCache>
            </c:strRef>
          </c:cat>
          <c:val>
            <c:numRef>
              <c:f>Sheet1!$F$2:$F$7</c:f>
              <c:numCache>
                <c:formatCode>General</c:formatCode>
                <c:ptCount val="6"/>
                <c:pt idx="0">
                  <c:v>29.47</c:v>
                </c:pt>
                <c:pt idx="1">
                  <c:v>33.07</c:v>
                </c:pt>
                <c:pt idx="2">
                  <c:v>50.91</c:v>
                </c:pt>
                <c:pt idx="3">
                  <c:v>29.0</c:v>
                </c:pt>
                <c:pt idx="4">
                  <c:v>44.62</c:v>
                </c:pt>
                <c:pt idx="5">
                  <c:v>52.9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3081"/>
          <c:min val="25.75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B$2:$B$7</c:f>
              <c:numCache>
                <c:formatCode>General</c:formatCode>
                <c:ptCount val="6"/>
                <c:pt idx="0">
                  <c:v>56.76</c:v>
                </c:pt>
                <c:pt idx="1">
                  <c:v>101.68</c:v>
                </c:pt>
                <c:pt idx="2">
                  <c:v>77.29</c:v>
                </c:pt>
                <c:pt idx="3">
                  <c:v>44.4</c:v>
                </c:pt>
                <c:pt idx="4">
                  <c:v>196.11</c:v>
                </c:pt>
                <c:pt idx="5">
                  <c:v>51.1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13</a:t>
                    </a:r>
                  </a:p>
                </c:rich>
              </c:tx>
              <c:dLblPos val="l"/>
              <c:showLegendKey val="0"/>
              <c:showVal val="1"/>
              <c:showCatName val="0"/>
              <c:showSerName val="0"/>
              <c:showPercent val="0"/>
              <c:showBubbleSize val="0"/>
            </c:dLbl>
            <c:dLbl>
              <c:idx val="1"/>
              <c:tx>
                <c:rich>
                  <a:bodyPr/>
                  <a:lstStyle/>
                  <a:p>
                    <a:r>
                      <a:t>IX 42</a:t>
                    </a:r>
                  </a:p>
                  <a:p>
                    <a:r>
                      <a:t>54.35</a:t>
                    </a:r>
                  </a:p>
                </c:rich>
              </c:tx>
              <c:dLblPos val="l"/>
              <c:showLegendKey val="0"/>
              <c:showVal val="1"/>
              <c:showCatName val="0"/>
              <c:showSerName val="0"/>
              <c:showPercent val="0"/>
              <c:showBubbleSize val="0"/>
            </c:dLbl>
            <c:dLbl>
              <c:idx val="2"/>
              <c:tx>
                <c:rich>
                  <a:bodyPr/>
                  <a:lstStyle/>
                  <a:p>
                    <a:r>
                      <a:t>IX 30</a:t>
                    </a:r>
                  </a:p>
                  <a:p>
                    <a:r>
                      <a:t>37.73</a:t>
                    </a:r>
                  </a:p>
                </c:rich>
              </c:tx>
              <c:dLblPos val="l"/>
              <c:showLegendKey val="0"/>
              <c:showVal val="1"/>
              <c:showCatName val="0"/>
              <c:showSerName val="0"/>
              <c:showPercent val="0"/>
              <c:showBubbleSize val="0"/>
            </c:dLbl>
            <c:dLbl>
              <c:idx val="3"/>
              <c:tx>
                <c:rich>
                  <a:bodyPr/>
                  <a:lstStyle/>
                  <a:p>
                    <a:r>
                      <a:t>IX 97</a:t>
                    </a:r>
                  </a:p>
                  <a:p>
                    <a:r>
                      <a:t>43.4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C$2:$C$7</c:f>
              <c:numCache>
                <c:formatCode>General</c:formatCode>
                <c:ptCount val="6"/>
                <c:pt idx="0">
                  <c:v>30.13</c:v>
                </c:pt>
                <c:pt idx="1">
                  <c:v>54.35</c:v>
                </c:pt>
                <c:pt idx="2">
                  <c:v>37.73</c:v>
                </c:pt>
                <c:pt idx="3">
                  <c:v>43.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D$2:$D$7</c:f>
              <c:numCache>
                <c:formatCode>General</c:formatCode>
                <c:ptCount val="6"/>
                <c:pt idx="0">
                  <c:v>84.08</c:v>
                </c:pt>
                <c:pt idx="1">
                  <c:v>130.37</c:v>
                </c:pt>
                <c:pt idx="2">
                  <c:v>127.53</c:v>
                </c:pt>
                <c:pt idx="4">
                  <c:v>110.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E$2:$E$7</c:f>
              <c:numCache>
                <c:formatCode>General</c:formatCode>
                <c:ptCount val="6"/>
                <c:pt idx="0">
                  <c:v>50.27</c:v>
                </c:pt>
                <c:pt idx="2">
                  <c:v>50.88</c:v>
                </c:pt>
                <c:pt idx="4">
                  <c:v>221.5</c:v>
                </c:pt>
                <c:pt idx="5">
                  <c:v>48.4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F$2:$F$7</c:f>
              <c:numCache>
                <c:formatCode>General</c:formatCode>
                <c:ptCount val="6"/>
                <c:pt idx="0">
                  <c:v>73.33</c:v>
                </c:pt>
                <c:pt idx="1">
                  <c:v>50.76</c:v>
                </c:pt>
                <c:pt idx="2">
                  <c:v>49.34</c:v>
                </c:pt>
                <c:pt idx="3">
                  <c:v>44.62</c:v>
                </c:pt>
                <c:pt idx="4">
                  <c:v>51.04</c:v>
                </c:pt>
                <c:pt idx="5">
                  <c:v>29.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2.0"/>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102</c:v>
                </c:pt>
                <c:pt idx="4">
                  <c:v/>
                </c:pt>
                <c:pt idx="5">
                  <c:v/>
                </c:pt>
              </c:strCache>
            </c:strRef>
          </c:cat>
          <c:val>
            <c:numRef>
              <c:f>Sheet1!$B$2:$B$7</c:f>
              <c:numCache>
                <c:formatCode>General</c:formatCode>
                <c:ptCount val="6"/>
                <c:pt idx="0">
                  <c:v>56.88</c:v>
                </c:pt>
                <c:pt idx="1">
                  <c:v>99.28</c:v>
                </c:pt>
                <c:pt idx="2">
                  <c:v>77.72</c:v>
                </c:pt>
                <c:pt idx="3">
                  <c:v>44.64</c:v>
                </c:pt>
                <c:pt idx="4">
                  <c:v>51.23</c:v>
                </c:pt>
                <c:pt idx="5">
                  <c:v>190.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22</a:t>
                    </a:r>
                  </a:p>
                </c:rich>
              </c:tx>
              <c:dLblPos val="l"/>
              <c:showLegendKey val="0"/>
              <c:showVal val="1"/>
              <c:showCatName val="0"/>
              <c:showSerName val="0"/>
              <c:showPercent val="0"/>
              <c:showBubbleSize val="0"/>
            </c:dLbl>
            <c:dLbl>
              <c:idx val="1"/>
              <c:tx>
                <c:rich>
                  <a:bodyPr/>
                  <a:lstStyle/>
                  <a:p>
                    <a:r>
                      <a:t>IX 42</a:t>
                    </a:r>
                  </a:p>
                  <a:p>
                    <a:r>
                      <a:t>54.7</a:t>
                    </a:r>
                  </a:p>
                </c:rich>
              </c:tx>
              <c:dLblPos val="l"/>
              <c:showLegendKey val="0"/>
              <c:showVal val="1"/>
              <c:showCatName val="0"/>
              <c:showSerName val="0"/>
              <c:showPercent val="0"/>
              <c:showBubbleSize val="0"/>
            </c:dLbl>
            <c:dLbl>
              <c:idx val="2"/>
              <c:tx>
                <c:rich>
                  <a:bodyPr/>
                  <a:lstStyle/>
                  <a:p>
                    <a:r>
                      <a:t>IX 30</a:t>
                    </a:r>
                  </a:p>
                  <a:p>
                    <a:r>
                      <a:t>38.24</a:t>
                    </a:r>
                  </a:p>
                </c:rich>
              </c:tx>
              <c:dLblPos val="l"/>
              <c:showLegendKey val="0"/>
              <c:showVal val="1"/>
              <c:showCatName val="0"/>
              <c:showSerName val="0"/>
              <c:showPercent val="0"/>
              <c:showBubbleSize val="0"/>
            </c:dLbl>
            <c:dLbl>
              <c:idx val="3"/>
              <c:tx>
                <c:rich>
                  <a:bodyPr/>
                  <a:lstStyle/>
                  <a:p>
                    <a:r>
                      <a:t>IX 102</a:t>
                    </a:r>
                  </a:p>
                  <a:p>
                    <a:r>
                      <a:t>45.6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102</c:v>
                </c:pt>
                <c:pt idx="4">
                  <c:v/>
                </c:pt>
                <c:pt idx="5">
                  <c:v/>
                </c:pt>
              </c:strCache>
            </c:strRef>
          </c:cat>
          <c:val>
            <c:numRef>
              <c:f>Sheet1!$C$2:$C$7</c:f>
              <c:numCache>
                <c:formatCode>General</c:formatCode>
                <c:ptCount val="6"/>
                <c:pt idx="0">
                  <c:v>30.22</c:v>
                </c:pt>
                <c:pt idx="1">
                  <c:v>54.7</c:v>
                </c:pt>
                <c:pt idx="2">
                  <c:v>38.24</c:v>
                </c:pt>
                <c:pt idx="3">
                  <c:v>45.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102</c:v>
                </c:pt>
                <c:pt idx="4">
                  <c:v/>
                </c:pt>
                <c:pt idx="5">
                  <c:v/>
                </c:pt>
              </c:strCache>
            </c:strRef>
          </c:cat>
          <c:val>
            <c:numRef>
              <c:f>Sheet1!$D$2:$D$7</c:f>
              <c:numCache>
                <c:formatCode>General</c:formatCode>
                <c:ptCount val="6"/>
                <c:pt idx="0">
                  <c:v>84.02</c:v>
                </c:pt>
                <c:pt idx="1">
                  <c:v>131.0</c:v>
                </c:pt>
                <c:pt idx="2">
                  <c:v>129.31</c:v>
                </c:pt>
                <c:pt idx="5">
                  <c:v>118.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102</c:v>
                </c:pt>
                <c:pt idx="4">
                  <c:v/>
                </c:pt>
                <c:pt idx="5">
                  <c:v/>
                </c:pt>
              </c:strCache>
            </c:strRef>
          </c:cat>
          <c:val>
            <c:numRef>
              <c:f>Sheet1!$E$2:$E$7</c:f>
              <c:numCache>
                <c:formatCode>General</c:formatCode>
                <c:ptCount val="6"/>
                <c:pt idx="0">
                  <c:v>50.6</c:v>
                </c:pt>
                <c:pt idx="2">
                  <c:v>51.99</c:v>
                </c:pt>
                <c:pt idx="4">
                  <c:v>48.6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102</c:v>
                </c:pt>
                <c:pt idx="4">
                  <c:v/>
                </c:pt>
                <c:pt idx="5">
                  <c:v/>
                </c:pt>
              </c:strCache>
            </c:strRef>
          </c:cat>
          <c:val>
            <c:numRef>
              <c:f>Sheet1!$F$2:$F$7</c:f>
              <c:numCache>
                <c:formatCode>General</c:formatCode>
                <c:ptCount val="6"/>
                <c:pt idx="1">
                  <c:v>50.98</c:v>
                </c:pt>
                <c:pt idx="2">
                  <c:v>50.75</c:v>
                </c:pt>
                <c:pt idx="3">
                  <c:v>44.7</c:v>
                </c:pt>
                <c:pt idx="4">
                  <c:v>29.0</c:v>
                </c:pt>
                <c:pt idx="5">
                  <c:v>52.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1.2269"/>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1</c:v>
                </c:pt>
                <c:pt idx="4">
                  <c:v/>
                </c:pt>
                <c:pt idx="5">
                  <c:v/>
                </c:pt>
              </c:strCache>
            </c:strRef>
          </c:cat>
          <c:val>
            <c:numRef>
              <c:f>Sheet1!$B$2:$B$7</c:f>
              <c:numCache>
                <c:formatCode>General</c:formatCode>
                <c:ptCount val="6"/>
                <c:pt idx="0">
                  <c:v>54.76</c:v>
                </c:pt>
                <c:pt idx="1">
                  <c:v>94.12</c:v>
                </c:pt>
                <c:pt idx="2">
                  <c:v>69.66</c:v>
                </c:pt>
                <c:pt idx="3">
                  <c:v>44.41</c:v>
                </c:pt>
                <c:pt idx="4">
                  <c:v>176.8</c:v>
                </c:pt>
                <c:pt idx="5">
                  <c:v>5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02</a:t>
                    </a:r>
                  </a:p>
                </c:rich>
              </c:tx>
              <c:dLblPos val="l"/>
              <c:showLegendKey val="0"/>
              <c:showVal val="1"/>
              <c:showCatName val="0"/>
              <c:showSerName val="0"/>
              <c:showPercent val="0"/>
              <c:showBubbleSize val="0"/>
            </c:dLbl>
            <c:dLbl>
              <c:idx val="1"/>
              <c:tx>
                <c:rich>
                  <a:bodyPr/>
                  <a:lstStyle/>
                  <a:p>
                    <a:r>
                      <a:t>IX 42</a:t>
                    </a:r>
                  </a:p>
                  <a:p>
                    <a:r>
                      <a:t>54.02</a:t>
                    </a:r>
                  </a:p>
                </c:rich>
              </c:tx>
              <c:dLblPos val="l"/>
              <c:showLegendKey val="0"/>
              <c:showVal val="1"/>
              <c:showCatName val="0"/>
              <c:showSerName val="0"/>
              <c:showPercent val="0"/>
              <c:showBubbleSize val="0"/>
            </c:dLbl>
            <c:dLbl>
              <c:idx val="2"/>
              <c:tx>
                <c:rich>
                  <a:bodyPr/>
                  <a:lstStyle/>
                  <a:p>
                    <a:r>
                      <a:t>IX 29</a:t>
                    </a:r>
                  </a:p>
                  <a:p>
                    <a:r>
                      <a:t>37.28</a:t>
                    </a:r>
                  </a:p>
                </c:rich>
              </c:tx>
              <c:dLblPos val="l"/>
              <c:showLegendKey val="0"/>
              <c:showVal val="1"/>
              <c:showCatName val="0"/>
              <c:showSerName val="0"/>
              <c:showPercent val="0"/>
              <c:showBubbleSize val="0"/>
            </c:dLbl>
            <c:dLbl>
              <c:idx val="3"/>
              <c:tx>
                <c:rich>
                  <a:bodyPr/>
                  <a:lstStyle/>
                  <a:p>
                    <a:r>
                      <a:t>IX 101</a:t>
                    </a:r>
                  </a:p>
                  <a:p>
                    <a:r>
                      <a:t>44.7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1</c:v>
                </c:pt>
                <c:pt idx="4">
                  <c:v/>
                </c:pt>
                <c:pt idx="5">
                  <c:v/>
                </c:pt>
              </c:strCache>
            </c:strRef>
          </c:cat>
          <c:val>
            <c:numRef>
              <c:f>Sheet1!$C$2:$C$7</c:f>
              <c:numCache>
                <c:formatCode>General</c:formatCode>
                <c:ptCount val="6"/>
                <c:pt idx="0">
                  <c:v>30.02</c:v>
                </c:pt>
                <c:pt idx="1">
                  <c:v>54.02</c:v>
                </c:pt>
                <c:pt idx="2">
                  <c:v>37.28</c:v>
                </c:pt>
                <c:pt idx="3">
                  <c:v>44.7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1</c:v>
                </c:pt>
                <c:pt idx="4">
                  <c:v/>
                </c:pt>
                <c:pt idx="5">
                  <c:v/>
                </c:pt>
              </c:strCache>
            </c:strRef>
          </c:cat>
          <c:val>
            <c:numRef>
              <c:f>Sheet1!$D$2:$D$7</c:f>
              <c:numCache>
                <c:formatCode>General</c:formatCode>
                <c:ptCount val="6"/>
                <c:pt idx="0">
                  <c:v>83.9</c:v>
                </c:pt>
                <c:pt idx="1">
                  <c:v>130.11</c:v>
                </c:pt>
                <c:pt idx="2">
                  <c:v>127.23</c:v>
                </c:pt>
                <c:pt idx="4">
                  <c:v>113.4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1</c:v>
                </c:pt>
                <c:pt idx="4">
                  <c:v/>
                </c:pt>
                <c:pt idx="5">
                  <c:v/>
                </c:pt>
              </c:strCache>
            </c:strRef>
          </c:cat>
          <c:val>
            <c:numRef>
              <c:f>Sheet1!$E$2:$E$7</c:f>
              <c:numCache>
                <c:formatCode>General</c:formatCode>
                <c:ptCount val="6"/>
                <c:pt idx="0">
                  <c:v>49.44</c:v>
                </c:pt>
                <c:pt idx="2">
                  <c:v>52.02</c:v>
                </c:pt>
                <c:pt idx="5">
                  <c:v>48.8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1</c:v>
                </c:pt>
                <c:pt idx="4">
                  <c:v/>
                </c:pt>
                <c:pt idx="5">
                  <c:v/>
                </c:pt>
              </c:strCache>
            </c:strRef>
          </c:cat>
          <c:val>
            <c:numRef>
              <c:f>Sheet1!$F$2:$F$7</c:f>
              <c:numCache>
                <c:formatCode>General</c:formatCode>
                <c:ptCount val="6"/>
                <c:pt idx="0">
                  <c:v>73.33</c:v>
                </c:pt>
                <c:pt idx="1">
                  <c:v>51.0</c:v>
                </c:pt>
                <c:pt idx="2">
                  <c:v>50.35</c:v>
                </c:pt>
                <c:pt idx="3">
                  <c:v>44.49</c:v>
                </c:pt>
                <c:pt idx="4">
                  <c:v>52.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7.3001"/>
          <c:min val="29.51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
                </c:pt>
                <c:pt idx="4">
                  <c:v>IX 94</c:v>
                </c:pt>
                <c:pt idx="5">
                  <c:v/>
                </c:pt>
              </c:strCache>
            </c:strRef>
          </c:cat>
          <c:val>
            <c:numRef>
              <c:f>Sheet1!$B$2:$B$7</c:f>
              <c:numCache>
                <c:formatCode>General</c:formatCode>
                <c:ptCount val="6"/>
                <c:pt idx="0">
                  <c:v>58.29</c:v>
                </c:pt>
                <c:pt idx="1">
                  <c:v>109.08</c:v>
                </c:pt>
                <c:pt idx="2">
                  <c:v>78.07</c:v>
                </c:pt>
                <c:pt idx="3">
                  <c:v>208.71</c:v>
                </c:pt>
                <c:pt idx="4">
                  <c:v>44.41</c:v>
                </c:pt>
                <c:pt idx="5">
                  <c:v>51.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32</a:t>
                    </a:r>
                  </a:p>
                </c:rich>
              </c:tx>
              <c:dLblPos val="l"/>
              <c:showLegendKey val="0"/>
              <c:showVal val="1"/>
              <c:showCatName val="0"/>
              <c:showSerName val="0"/>
              <c:showPercent val="0"/>
              <c:showBubbleSize val="0"/>
            </c:dLbl>
            <c:dLbl>
              <c:idx val="1"/>
              <c:tx>
                <c:rich>
                  <a:bodyPr/>
                  <a:lstStyle/>
                  <a:p>
                    <a:r>
                      <a:t>IX 42</a:t>
                    </a:r>
                  </a:p>
                  <a:p>
                    <a:r>
                      <a:t>54.62</a:t>
                    </a:r>
                  </a:p>
                </c:rich>
              </c:tx>
              <c:dLblPos val="l"/>
              <c:showLegendKey val="0"/>
              <c:showVal val="1"/>
              <c:showCatName val="0"/>
              <c:showSerName val="0"/>
              <c:showPercent val="0"/>
              <c:showBubbleSize val="0"/>
            </c:dLbl>
            <c:dLbl>
              <c:idx val="2"/>
              <c:tx>
                <c:rich>
                  <a:bodyPr/>
                  <a:lstStyle/>
                  <a:p>
                    <a:r>
                      <a:t>IX 29</a:t>
                    </a:r>
                  </a:p>
                  <a:p>
                    <a:r>
                      <a:t>38.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4</a:t>
                    </a:r>
                  </a:p>
                  <a:p>
                    <a:r>
                      <a:t>41.9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
                </c:pt>
                <c:pt idx="4">
                  <c:v>IX 94</c:v>
                </c:pt>
                <c:pt idx="5">
                  <c:v/>
                </c:pt>
              </c:strCache>
            </c:strRef>
          </c:cat>
          <c:val>
            <c:numRef>
              <c:f>Sheet1!$C$2:$C$7</c:f>
              <c:numCache>
                <c:formatCode>General</c:formatCode>
                <c:ptCount val="6"/>
                <c:pt idx="0">
                  <c:v>30.32</c:v>
                </c:pt>
                <c:pt idx="1">
                  <c:v>54.62</c:v>
                </c:pt>
                <c:pt idx="2">
                  <c:v>38.6</c:v>
                </c:pt>
                <c:pt idx="4">
                  <c:v>41.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
                </c:pt>
                <c:pt idx="4">
                  <c:v>IX 94</c:v>
                </c:pt>
                <c:pt idx="5">
                  <c:v/>
                </c:pt>
              </c:strCache>
            </c:strRef>
          </c:cat>
          <c:val>
            <c:numRef>
              <c:f>Sheet1!$D$2:$D$7</c:f>
              <c:numCache>
                <c:formatCode>General</c:formatCode>
                <c:ptCount val="6"/>
                <c:pt idx="0">
                  <c:v>84.19</c:v>
                </c:pt>
                <c:pt idx="1">
                  <c:v>130.73</c:v>
                </c:pt>
                <c:pt idx="2">
                  <c:v>131.14</c:v>
                </c:pt>
                <c:pt idx="3">
                  <c:v>103.0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
                </c:pt>
                <c:pt idx="4">
                  <c:v>IX 94</c:v>
                </c:pt>
                <c:pt idx="5">
                  <c:v/>
                </c:pt>
              </c:strCache>
            </c:strRef>
          </c:cat>
          <c:val>
            <c:numRef>
              <c:f>Sheet1!$E$2:$E$7</c:f>
              <c:numCache>
                <c:formatCode>General</c:formatCode>
                <c:ptCount val="6"/>
                <c:pt idx="0">
                  <c:v>50.19</c:v>
                </c:pt>
                <c:pt idx="2">
                  <c:v>51.62</c:v>
                </c:pt>
                <c:pt idx="3">
                  <c:v>221.5</c:v>
                </c:pt>
                <c:pt idx="5">
                  <c:v>48.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
                </c:pt>
                <c:pt idx="4">
                  <c:v>IX 94</c:v>
                </c:pt>
                <c:pt idx="5">
                  <c:v/>
                </c:pt>
              </c:strCache>
            </c:strRef>
          </c:cat>
          <c:val>
            <c:numRef>
              <c:f>Sheet1!$F$2:$F$7</c:f>
              <c:numCache>
                <c:formatCode>General</c:formatCode>
                <c:ptCount val="6"/>
                <c:pt idx="1">
                  <c:v>50.94</c:v>
                </c:pt>
                <c:pt idx="2">
                  <c:v>49.97</c:v>
                </c:pt>
                <c:pt idx="3">
                  <c:v>50.01</c:v>
                </c:pt>
                <c:pt idx="4">
                  <c:v>44.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2.0"/>
          <c:min val="29.81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
                </c:pt>
                <c:pt idx="5">
                  <c:v>IX 92</c:v>
                </c:pt>
              </c:strCache>
            </c:strRef>
          </c:cat>
          <c:val>
            <c:numRef>
              <c:f>Sheet1!$B$2:$B$7</c:f>
              <c:numCache>
                <c:formatCode>General</c:formatCode>
                <c:ptCount val="6"/>
                <c:pt idx="0">
                  <c:v>60.36</c:v>
                </c:pt>
                <c:pt idx="1">
                  <c:v>114.16</c:v>
                </c:pt>
                <c:pt idx="2">
                  <c:v>104.58</c:v>
                </c:pt>
                <c:pt idx="3">
                  <c:v>234.09</c:v>
                </c:pt>
                <c:pt idx="4">
                  <c:v>51.06</c:v>
                </c:pt>
                <c:pt idx="5">
                  <c:v>44.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03</a:t>
                    </a:r>
                  </a:p>
                </c:rich>
              </c:tx>
              <c:dLblPos val="l"/>
              <c:showLegendKey val="0"/>
              <c:showVal val="1"/>
              <c:showCatName val="0"/>
              <c:showSerName val="0"/>
              <c:showPercent val="0"/>
              <c:showBubbleSize val="0"/>
            </c:dLbl>
            <c:dLbl>
              <c:idx val="1"/>
              <c:tx>
                <c:rich>
                  <a:bodyPr/>
                  <a:lstStyle/>
                  <a:p>
                    <a:r>
                      <a:t>IX 43</a:t>
                    </a:r>
                  </a:p>
                  <a:p>
                    <a:r>
                      <a:t>55.44</a:t>
                    </a:r>
                  </a:p>
                </c:rich>
              </c:tx>
              <c:dLblPos val="l"/>
              <c:showLegendKey val="0"/>
              <c:showVal val="1"/>
              <c:showCatName val="0"/>
              <c:showSerName val="0"/>
              <c:showPercent val="0"/>
              <c:showBubbleSize val="0"/>
            </c:dLbl>
            <c:dLbl>
              <c:idx val="2"/>
              <c:tx>
                <c:rich>
                  <a:bodyPr/>
                  <a:lstStyle/>
                  <a:p>
                    <a:r>
                      <a:t>IX 29</a:t>
                    </a:r>
                  </a:p>
                  <a:p>
                    <a:r>
                      <a:t>37.7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92</a:t>
                    </a:r>
                  </a:p>
                  <a:p>
                    <a:r>
                      <a:t>41.0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
                </c:pt>
                <c:pt idx="5">
                  <c:v>IX 92</c:v>
                </c:pt>
              </c:strCache>
            </c:strRef>
          </c:cat>
          <c:val>
            <c:numRef>
              <c:f>Sheet1!$C$2:$C$7</c:f>
              <c:numCache>
                <c:formatCode>General</c:formatCode>
                <c:ptCount val="6"/>
                <c:pt idx="0">
                  <c:v>30.03</c:v>
                </c:pt>
                <c:pt idx="1">
                  <c:v>55.44</c:v>
                </c:pt>
                <c:pt idx="2">
                  <c:v>37.71</c:v>
                </c:pt>
                <c:pt idx="5">
                  <c:v>41.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
                </c:pt>
                <c:pt idx="5">
                  <c:v>IX 92</c:v>
                </c:pt>
              </c:strCache>
            </c:strRef>
          </c:cat>
          <c:val>
            <c:numRef>
              <c:f>Sheet1!$D$2:$D$7</c:f>
              <c:numCache>
                <c:formatCode>General</c:formatCode>
                <c:ptCount val="6"/>
                <c:pt idx="0">
                  <c:v>84.51</c:v>
                </c:pt>
                <c:pt idx="1">
                  <c:v>128.61</c:v>
                </c:pt>
                <c:pt idx="2">
                  <c:v>130.66</c:v>
                </c:pt>
                <c:pt idx="3">
                  <c:v>102.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
                </c:pt>
                <c:pt idx="5">
                  <c:v>IX 92</c:v>
                </c:pt>
              </c:strCache>
            </c:strRef>
          </c:cat>
          <c:val>
            <c:numRef>
              <c:f>Sheet1!$E$2:$E$7</c:f>
              <c:numCache>
                <c:formatCode>General</c:formatCode>
                <c:ptCount val="6"/>
                <c:pt idx="0">
                  <c:v>66.21</c:v>
                </c:pt>
                <c:pt idx="1">
                  <c:v>123.48</c:v>
                </c:pt>
                <c:pt idx="2">
                  <c:v>113.65</c:v>
                </c:pt>
                <c:pt idx="3">
                  <c:v>74.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
                </c:pt>
                <c:pt idx="5">
                  <c:v>IX 92</c:v>
                </c:pt>
              </c:strCache>
            </c:strRef>
          </c:cat>
          <c:val>
            <c:numRef>
              <c:f>Sheet1!$F$2:$F$7</c:f>
              <c:numCache>
                <c:formatCode>General</c:formatCode>
                <c:ptCount val="6"/>
                <c:pt idx="1">
                  <c:v>51.13</c:v>
                </c:pt>
                <c:pt idx="2">
                  <c:v>47.14</c:v>
                </c:pt>
                <c:pt idx="3">
                  <c:v>49.33</c:v>
                </c:pt>
                <c:pt idx="5">
                  <c:v>44.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4.5895"/>
          <c:min val="29.52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30</c:v>
                </c:pt>
                <c:pt idx="3">
                  <c:v/>
                </c:pt>
                <c:pt idx="4">
                  <c:v/>
                </c:pt>
                <c:pt idx="5">
                  <c:v>IX 80</c:v>
                </c:pt>
              </c:strCache>
            </c:strRef>
          </c:cat>
          <c:val>
            <c:numRef>
              <c:f>Sheet1!$B$2:$B$7</c:f>
              <c:numCache>
                <c:formatCode>General</c:formatCode>
                <c:ptCount val="6"/>
                <c:pt idx="0">
                  <c:v>58.25</c:v>
                </c:pt>
                <c:pt idx="1">
                  <c:v>109.38</c:v>
                </c:pt>
                <c:pt idx="2">
                  <c:v>75.27</c:v>
                </c:pt>
                <c:pt idx="3">
                  <c:v>177.64</c:v>
                </c:pt>
                <c:pt idx="4">
                  <c:v>50.77</c:v>
                </c:pt>
                <c:pt idx="5">
                  <c:v>43.7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5</a:t>
                    </a:r>
                  </a:p>
                  <a:p>
                    <a:r>
                      <a:t>29.9</a:t>
                    </a:r>
                  </a:p>
                </c:rich>
              </c:tx>
              <c:dLblPos val="l"/>
              <c:showLegendKey val="0"/>
              <c:showVal val="1"/>
              <c:showCatName val="0"/>
              <c:showSerName val="0"/>
              <c:showPercent val="0"/>
              <c:showBubbleSize val="0"/>
            </c:dLbl>
            <c:dLbl>
              <c:idx val="1"/>
              <c:tx>
                <c:rich>
                  <a:bodyPr/>
                  <a:lstStyle/>
                  <a:p>
                    <a:r>
                      <a:t>IX 42</a:t>
                    </a:r>
                  </a:p>
                  <a:p>
                    <a:r>
                      <a:t>55.93</a:t>
                    </a:r>
                  </a:p>
                </c:rich>
              </c:tx>
              <c:dLblPos val="l"/>
              <c:showLegendKey val="0"/>
              <c:showVal val="1"/>
              <c:showCatName val="0"/>
              <c:showSerName val="0"/>
              <c:showPercent val="0"/>
              <c:showBubbleSize val="0"/>
            </c:dLbl>
            <c:dLbl>
              <c:idx val="2"/>
              <c:tx>
                <c:rich>
                  <a:bodyPr/>
                  <a:lstStyle/>
                  <a:p>
                    <a:r>
                      <a:t>IX 30</a:t>
                    </a:r>
                  </a:p>
                  <a:p>
                    <a:r>
                      <a:t>37.3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80</a:t>
                    </a:r>
                  </a:p>
                  <a:p>
                    <a:r>
                      <a:t>35.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30</c:v>
                </c:pt>
                <c:pt idx="3">
                  <c:v/>
                </c:pt>
                <c:pt idx="4">
                  <c:v/>
                </c:pt>
                <c:pt idx="5">
                  <c:v>IX 80</c:v>
                </c:pt>
              </c:strCache>
            </c:strRef>
          </c:cat>
          <c:val>
            <c:numRef>
              <c:f>Sheet1!$C$2:$C$7</c:f>
              <c:numCache>
                <c:formatCode>General</c:formatCode>
                <c:ptCount val="6"/>
                <c:pt idx="0">
                  <c:v>29.9</c:v>
                </c:pt>
                <c:pt idx="1">
                  <c:v>55.93</c:v>
                </c:pt>
                <c:pt idx="2">
                  <c:v>37.33</c:v>
                </c:pt>
                <c:pt idx="5">
                  <c:v>35.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30</c:v>
                </c:pt>
                <c:pt idx="3">
                  <c:v/>
                </c:pt>
                <c:pt idx="4">
                  <c:v/>
                </c:pt>
                <c:pt idx="5">
                  <c:v>IX 80</c:v>
                </c:pt>
              </c:strCache>
            </c:strRef>
          </c:cat>
          <c:val>
            <c:numRef>
              <c:f>Sheet1!$D$2:$D$7</c:f>
              <c:numCache>
                <c:formatCode>General</c:formatCode>
                <c:ptCount val="6"/>
                <c:pt idx="0">
                  <c:v>84.76</c:v>
                </c:pt>
                <c:pt idx="1">
                  <c:v>132.76</c:v>
                </c:pt>
                <c:pt idx="2">
                  <c:v>124.78</c:v>
                </c:pt>
                <c:pt idx="3">
                  <c:v>102.6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30</c:v>
                </c:pt>
                <c:pt idx="3">
                  <c:v/>
                </c:pt>
                <c:pt idx="4">
                  <c:v/>
                </c:pt>
                <c:pt idx="5">
                  <c:v>IX 80</c:v>
                </c:pt>
              </c:strCache>
            </c:strRef>
          </c:cat>
          <c:val>
            <c:numRef>
              <c:f>Sheet1!$E$2:$E$7</c:f>
              <c:numCache>
                <c:formatCode>General</c:formatCode>
                <c:ptCount val="6"/>
                <c:pt idx="0">
                  <c:v>50.86</c:v>
                </c:pt>
                <c:pt idx="2">
                  <c:v>49.9</c:v>
                </c:pt>
                <c:pt idx="4">
                  <c:v>48.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30</c:v>
                </c:pt>
                <c:pt idx="3">
                  <c:v/>
                </c:pt>
                <c:pt idx="4">
                  <c:v/>
                </c:pt>
                <c:pt idx="5">
                  <c:v>IX 80</c:v>
                </c:pt>
              </c:strCache>
            </c:strRef>
          </c:cat>
          <c:val>
            <c:numRef>
              <c:f>Sheet1!$F$2:$F$7</c:f>
              <c:numCache>
                <c:formatCode>General</c:formatCode>
                <c:ptCount val="6"/>
                <c:pt idx="1">
                  <c:v>52.21</c:v>
                </c:pt>
                <c:pt idx="2">
                  <c:v>46.29</c:v>
                </c:pt>
                <c:pt idx="3">
                  <c:v>46.72</c:v>
                </c:pt>
                <c:pt idx="5">
                  <c:v>44.7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405"/>
          <c:min val="29.39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8</c:v>
                </c:pt>
                <c:pt idx="4">
                  <c:v/>
                </c:pt>
                <c:pt idx="5">
                  <c:v/>
                </c:pt>
              </c:strCache>
            </c:strRef>
          </c:cat>
          <c:val>
            <c:numRef>
              <c:f>Sheet1!$B$2:$B$7</c:f>
              <c:numCache>
                <c:formatCode>General</c:formatCode>
                <c:ptCount val="6"/>
                <c:pt idx="0">
                  <c:v>57.39</c:v>
                </c:pt>
                <c:pt idx="1">
                  <c:v>105.02</c:v>
                </c:pt>
                <c:pt idx="2">
                  <c:v>81.85</c:v>
                </c:pt>
                <c:pt idx="3">
                  <c:v>44.7</c:v>
                </c:pt>
                <c:pt idx="4">
                  <c:v>51.53</c:v>
                </c:pt>
                <c:pt idx="5">
                  <c:v>207.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17</a:t>
                    </a:r>
                  </a:p>
                </c:rich>
              </c:tx>
              <c:dLblPos val="l"/>
              <c:showLegendKey val="0"/>
              <c:showVal val="1"/>
              <c:showCatName val="0"/>
              <c:showSerName val="0"/>
              <c:showPercent val="0"/>
              <c:showBubbleSize val="0"/>
            </c:dLbl>
            <c:dLbl>
              <c:idx val="1"/>
              <c:tx>
                <c:rich>
                  <a:bodyPr/>
                  <a:lstStyle/>
                  <a:p>
                    <a:r>
                      <a:t>IX 42</a:t>
                    </a:r>
                  </a:p>
                  <a:p>
                    <a:r>
                      <a:t>54.51</a:t>
                    </a:r>
                  </a:p>
                </c:rich>
              </c:tx>
              <c:dLblPos val="l"/>
              <c:showLegendKey val="0"/>
              <c:showVal val="1"/>
              <c:showCatName val="0"/>
              <c:showSerName val="0"/>
              <c:showPercent val="0"/>
              <c:showBubbleSize val="0"/>
            </c:dLbl>
            <c:dLbl>
              <c:idx val="2"/>
              <c:tx>
                <c:rich>
                  <a:bodyPr/>
                  <a:lstStyle/>
                  <a:p>
                    <a:r>
                      <a:t>IX 29</a:t>
                    </a:r>
                  </a:p>
                  <a:p>
                    <a:r>
                      <a:t>38.26</a:t>
                    </a:r>
                  </a:p>
                </c:rich>
              </c:tx>
              <c:dLblPos val="l"/>
              <c:showLegendKey val="0"/>
              <c:showVal val="1"/>
              <c:showCatName val="0"/>
              <c:showSerName val="0"/>
              <c:showPercent val="0"/>
              <c:showBubbleSize val="0"/>
            </c:dLbl>
            <c:dLbl>
              <c:idx val="3"/>
              <c:tx>
                <c:rich>
                  <a:bodyPr/>
                  <a:lstStyle/>
                  <a:p>
                    <a:r>
                      <a:t>IX 108</a:t>
                    </a:r>
                  </a:p>
                  <a:p>
                    <a:r>
                      <a:t>48.29</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8</c:v>
                </c:pt>
                <c:pt idx="4">
                  <c:v/>
                </c:pt>
                <c:pt idx="5">
                  <c:v/>
                </c:pt>
              </c:strCache>
            </c:strRef>
          </c:cat>
          <c:val>
            <c:numRef>
              <c:f>Sheet1!$C$2:$C$7</c:f>
              <c:numCache>
                <c:formatCode>General</c:formatCode>
                <c:ptCount val="6"/>
                <c:pt idx="0">
                  <c:v>30.17</c:v>
                </c:pt>
                <c:pt idx="1">
                  <c:v>54.51</c:v>
                </c:pt>
                <c:pt idx="2">
                  <c:v>38.26</c:v>
                </c:pt>
                <c:pt idx="3">
                  <c:v>48.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8</c:v>
                </c:pt>
                <c:pt idx="4">
                  <c:v/>
                </c:pt>
                <c:pt idx="5">
                  <c:v/>
                </c:pt>
              </c:strCache>
            </c:strRef>
          </c:cat>
          <c:val>
            <c:numRef>
              <c:f>Sheet1!$D$2:$D$7</c:f>
              <c:numCache>
                <c:formatCode>General</c:formatCode>
                <c:ptCount val="6"/>
                <c:pt idx="0">
                  <c:v>83.98</c:v>
                </c:pt>
                <c:pt idx="1">
                  <c:v>130.58</c:v>
                </c:pt>
                <c:pt idx="2">
                  <c:v>130.36</c:v>
                </c:pt>
                <c:pt idx="5">
                  <c:v>125.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8</c:v>
                </c:pt>
                <c:pt idx="4">
                  <c:v/>
                </c:pt>
                <c:pt idx="5">
                  <c:v/>
                </c:pt>
              </c:strCache>
            </c:strRef>
          </c:cat>
          <c:val>
            <c:numRef>
              <c:f>Sheet1!$E$2:$E$7</c:f>
              <c:numCache>
                <c:formatCode>General</c:formatCode>
                <c:ptCount val="6"/>
                <c:pt idx="0">
                  <c:v>50.66</c:v>
                </c:pt>
                <c:pt idx="2">
                  <c:v>52.0</c:v>
                </c:pt>
                <c:pt idx="4">
                  <c:v>48.75</c:v>
                </c:pt>
                <c:pt idx="5">
                  <c:v>190.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8</c:v>
                </c:pt>
                <c:pt idx="4">
                  <c:v/>
                </c:pt>
                <c:pt idx="5">
                  <c:v/>
                </c:pt>
              </c:strCache>
            </c:strRef>
          </c:cat>
          <c:val>
            <c:numRef>
              <c:f>Sheet1!$F$2:$F$7</c:f>
              <c:numCache>
                <c:formatCode>General</c:formatCode>
                <c:ptCount val="6"/>
                <c:pt idx="0">
                  <c:v>73.33</c:v>
                </c:pt>
                <c:pt idx="1">
                  <c:v>50.92</c:v>
                </c:pt>
                <c:pt idx="2">
                  <c:v>50.61</c:v>
                </c:pt>
                <c:pt idx="3">
                  <c:v>44.7</c:v>
                </c:pt>
                <c:pt idx="4">
                  <c:v>29.0</c:v>
                </c:pt>
                <c:pt idx="5">
                  <c:v>52.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9463"/>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29</c:v>
                </c:pt>
                <c:pt idx="3">
                  <c:v/>
                </c:pt>
                <c:pt idx="4">
                  <c:v>IX 97</c:v>
                </c:pt>
                <c:pt idx="5">
                  <c:v/>
                </c:pt>
              </c:strCache>
            </c:strRef>
          </c:cat>
          <c:val>
            <c:numRef>
              <c:f>Sheet1!$B$2:$B$7</c:f>
              <c:numCache>
                <c:formatCode>General</c:formatCode>
                <c:ptCount val="6"/>
                <c:pt idx="0">
                  <c:v>56.37</c:v>
                </c:pt>
                <c:pt idx="1">
                  <c:v>109.14</c:v>
                </c:pt>
                <c:pt idx="2">
                  <c:v>78.37</c:v>
                </c:pt>
                <c:pt idx="3">
                  <c:v>228.69</c:v>
                </c:pt>
                <c:pt idx="4">
                  <c:v>44.18</c:v>
                </c:pt>
                <c:pt idx="5">
                  <c:v>51.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5</a:t>
                    </a:r>
                  </a:p>
                  <a:p>
                    <a:r>
                      <a:t>30.03</a:t>
                    </a:r>
                  </a:p>
                </c:rich>
              </c:tx>
              <c:dLblPos val="l"/>
              <c:showLegendKey val="0"/>
              <c:showVal val="1"/>
              <c:showCatName val="0"/>
              <c:showSerName val="0"/>
              <c:showPercent val="0"/>
              <c:showBubbleSize val="0"/>
            </c:dLbl>
            <c:dLbl>
              <c:idx val="1"/>
              <c:tx>
                <c:rich>
                  <a:bodyPr/>
                  <a:lstStyle/>
                  <a:p>
                    <a:r>
                      <a:t>IX 42</a:t>
                    </a:r>
                  </a:p>
                  <a:p>
                    <a:r>
                      <a:t>55.37</a:t>
                    </a:r>
                  </a:p>
                </c:rich>
              </c:tx>
              <c:dLblPos val="l"/>
              <c:showLegendKey val="0"/>
              <c:showVal val="1"/>
              <c:showCatName val="0"/>
              <c:showSerName val="0"/>
              <c:showPercent val="0"/>
              <c:showBubbleSize val="0"/>
            </c:dLbl>
            <c:dLbl>
              <c:idx val="2"/>
              <c:tx>
                <c:rich>
                  <a:bodyPr/>
                  <a:lstStyle/>
                  <a:p>
                    <a:r>
                      <a:t>IX 29</a:t>
                    </a:r>
                  </a:p>
                  <a:p>
                    <a:r>
                      <a:t>37.4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7</a:t>
                    </a:r>
                  </a:p>
                  <a:p>
                    <a:r>
                      <a:t>42.7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29</c:v>
                </c:pt>
                <c:pt idx="3">
                  <c:v/>
                </c:pt>
                <c:pt idx="4">
                  <c:v>IX 97</c:v>
                </c:pt>
                <c:pt idx="5">
                  <c:v/>
                </c:pt>
              </c:strCache>
            </c:strRef>
          </c:cat>
          <c:val>
            <c:numRef>
              <c:f>Sheet1!$C$2:$C$7</c:f>
              <c:numCache>
                <c:formatCode>General</c:formatCode>
                <c:ptCount val="6"/>
                <c:pt idx="0">
                  <c:v>30.03</c:v>
                </c:pt>
                <c:pt idx="1">
                  <c:v>55.37</c:v>
                </c:pt>
                <c:pt idx="2">
                  <c:v>37.43</c:v>
                </c:pt>
                <c:pt idx="4">
                  <c:v>42.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29</c:v>
                </c:pt>
                <c:pt idx="3">
                  <c:v/>
                </c:pt>
                <c:pt idx="4">
                  <c:v>IX 97</c:v>
                </c:pt>
                <c:pt idx="5">
                  <c:v/>
                </c:pt>
              </c:strCache>
            </c:strRef>
          </c:cat>
          <c:val>
            <c:numRef>
              <c:f>Sheet1!$D$2:$D$7</c:f>
              <c:numCache>
                <c:formatCode>General</c:formatCode>
                <c:ptCount val="6"/>
                <c:pt idx="0">
                  <c:v>84.76</c:v>
                </c:pt>
                <c:pt idx="1">
                  <c:v>131.13</c:v>
                </c:pt>
                <c:pt idx="2">
                  <c:v>128.1</c:v>
                </c:pt>
                <c:pt idx="3">
                  <c:v>103.0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29</c:v>
                </c:pt>
                <c:pt idx="3">
                  <c:v/>
                </c:pt>
                <c:pt idx="4">
                  <c:v>IX 97</c:v>
                </c:pt>
                <c:pt idx="5">
                  <c:v/>
                </c:pt>
              </c:strCache>
            </c:strRef>
          </c:cat>
          <c:val>
            <c:numRef>
              <c:f>Sheet1!$E$2:$E$7</c:f>
              <c:numCache>
                <c:formatCode>General</c:formatCode>
                <c:ptCount val="6"/>
                <c:pt idx="0">
                  <c:v>65.08</c:v>
                </c:pt>
                <c:pt idx="1">
                  <c:v>115.85</c:v>
                </c:pt>
                <c:pt idx="2">
                  <c:v>118.11</c:v>
                </c:pt>
                <c:pt idx="3">
                  <c:v>71.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29</c:v>
                </c:pt>
                <c:pt idx="3">
                  <c:v/>
                </c:pt>
                <c:pt idx="4">
                  <c:v>IX 97</c:v>
                </c:pt>
                <c:pt idx="5">
                  <c:v/>
                </c:pt>
              </c:strCache>
            </c:strRef>
          </c:cat>
          <c:val>
            <c:numRef>
              <c:f>Sheet1!$F$2:$F$7</c:f>
              <c:numCache>
                <c:formatCode>General</c:formatCode>
                <c:ptCount val="6"/>
                <c:pt idx="1">
                  <c:v>50.87</c:v>
                </c:pt>
                <c:pt idx="2">
                  <c:v>49.78</c:v>
                </c:pt>
                <c:pt idx="3">
                  <c:v>49.09</c:v>
                </c:pt>
                <c:pt idx="4">
                  <c:v>44.2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9.1925"/>
          <c:min val="29.53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IX 95</c:v>
                </c:pt>
                <c:pt idx="5">
                  <c:v/>
                </c:pt>
              </c:strCache>
            </c:strRef>
          </c:cat>
          <c:val>
            <c:numRef>
              <c:f>Sheet1!$B$2:$B$7</c:f>
              <c:numCache>
                <c:formatCode>General</c:formatCode>
                <c:ptCount val="6"/>
                <c:pt idx="0">
                  <c:v>57.82</c:v>
                </c:pt>
                <c:pt idx="1">
                  <c:v>100.96</c:v>
                </c:pt>
                <c:pt idx="2">
                  <c:v>70.74</c:v>
                </c:pt>
                <c:pt idx="3">
                  <c:v>181.41</c:v>
                </c:pt>
                <c:pt idx="4">
                  <c:v>44.12</c:v>
                </c:pt>
                <c:pt idx="5">
                  <c:v>49.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65</a:t>
                    </a:r>
                  </a:p>
                </c:rich>
              </c:tx>
              <c:dLblPos val="l"/>
              <c:showLegendKey val="0"/>
              <c:showVal val="1"/>
              <c:showCatName val="0"/>
              <c:showSerName val="0"/>
              <c:showPercent val="0"/>
              <c:showBubbleSize val="0"/>
            </c:dLbl>
            <c:dLbl>
              <c:idx val="1"/>
              <c:tx>
                <c:rich>
                  <a:bodyPr/>
                  <a:lstStyle/>
                  <a:p>
                    <a:r>
                      <a:t>IX 43</a:t>
                    </a:r>
                  </a:p>
                  <a:p>
                    <a:r>
                      <a:t>55.85</a:t>
                    </a:r>
                  </a:p>
                </c:rich>
              </c:tx>
              <c:dLblPos val="l"/>
              <c:showLegendKey val="0"/>
              <c:showVal val="1"/>
              <c:showCatName val="0"/>
              <c:showSerName val="0"/>
              <c:showPercent val="0"/>
              <c:showBubbleSize val="0"/>
            </c:dLbl>
            <c:dLbl>
              <c:idx val="2"/>
              <c:tx>
                <c:rich>
                  <a:bodyPr/>
                  <a:lstStyle/>
                  <a:p>
                    <a:r>
                      <a:t>IX 29</a:t>
                    </a:r>
                  </a:p>
                  <a:p>
                    <a:r>
                      <a:t>37.2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5</a:t>
                    </a:r>
                  </a:p>
                  <a:p>
                    <a:r>
                      <a:t>42.4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IX 95</c:v>
                </c:pt>
                <c:pt idx="5">
                  <c:v/>
                </c:pt>
              </c:strCache>
            </c:strRef>
          </c:cat>
          <c:val>
            <c:numRef>
              <c:f>Sheet1!$C$2:$C$7</c:f>
              <c:numCache>
                <c:formatCode>General</c:formatCode>
                <c:ptCount val="6"/>
                <c:pt idx="0">
                  <c:v>30.65</c:v>
                </c:pt>
                <c:pt idx="1">
                  <c:v>55.85</c:v>
                </c:pt>
                <c:pt idx="2">
                  <c:v>37.23</c:v>
                </c:pt>
                <c:pt idx="4">
                  <c:v>42.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IX 95</c:v>
                </c:pt>
                <c:pt idx="5">
                  <c:v/>
                </c:pt>
              </c:strCache>
            </c:strRef>
          </c:cat>
          <c:val>
            <c:numRef>
              <c:f>Sheet1!$D$2:$D$7</c:f>
              <c:numCache>
                <c:formatCode>General</c:formatCode>
                <c:ptCount val="6"/>
                <c:pt idx="0">
                  <c:v>84.37</c:v>
                </c:pt>
                <c:pt idx="1">
                  <c:v>131.37</c:v>
                </c:pt>
                <c:pt idx="2">
                  <c:v>126.27</c:v>
                </c:pt>
                <c:pt idx="3">
                  <c:v>97.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IX 95</c:v>
                </c:pt>
                <c:pt idx="5">
                  <c:v/>
                </c:pt>
              </c:strCache>
            </c:strRef>
          </c:cat>
          <c:val>
            <c:numRef>
              <c:f>Sheet1!$E$2:$E$7</c:f>
              <c:numCache>
                <c:formatCode>General</c:formatCode>
                <c:ptCount val="6"/>
                <c:pt idx="0">
                  <c:v>50.35</c:v>
                </c:pt>
                <c:pt idx="2">
                  <c:v>50.84</c:v>
                </c:pt>
                <c:pt idx="5">
                  <c:v>47.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IX 95</c:v>
                </c:pt>
                <c:pt idx="5">
                  <c:v/>
                </c:pt>
              </c:strCache>
            </c:strRef>
          </c:cat>
          <c:val>
            <c:numRef>
              <c:f>Sheet1!$F$2:$F$7</c:f>
              <c:numCache>
                <c:formatCode>General</c:formatCode>
                <c:ptCount val="6"/>
                <c:pt idx="1">
                  <c:v>50.16</c:v>
                </c:pt>
                <c:pt idx="2">
                  <c:v>46.02</c:v>
                </c:pt>
                <c:pt idx="3">
                  <c:v>48.99</c:v>
                </c:pt>
                <c:pt idx="4">
                  <c:v>44.5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9146"/>
          <c:min val="30.14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1.19</c:v>
                </c:pt>
                <c:pt idx="1">
                  <c:v>13.92</c:v>
                </c:pt>
                <c:pt idx="2">
                  <c:v>24.4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2</a:t>
                    </a:r>
                  </a:p>
                  <a:p>
                    <a:r>
                      <a:t>3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7.0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4.9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7.66</c:v>
                </c:pt>
                <c:pt idx="2">
                  <c:v>38.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5635"/>
          <c:min val="13.41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1</c:v>
                </c:pt>
                <c:pt idx="3">
                  <c:v>IX 94</c:v>
                </c:pt>
                <c:pt idx="4">
                  <c:v/>
                </c:pt>
                <c:pt idx="5">
                  <c:v/>
                </c:pt>
              </c:strCache>
            </c:strRef>
          </c:cat>
          <c:val>
            <c:numRef>
              <c:f>Sheet1!$B$2:$B$7</c:f>
              <c:numCache>
                <c:formatCode>General</c:formatCode>
                <c:ptCount val="6"/>
                <c:pt idx="0">
                  <c:v>52.76</c:v>
                </c:pt>
                <c:pt idx="1">
                  <c:v>95.09</c:v>
                </c:pt>
                <c:pt idx="2">
                  <c:v>64.78</c:v>
                </c:pt>
                <c:pt idx="3">
                  <c:v>43.86</c:v>
                </c:pt>
                <c:pt idx="4">
                  <c:v>185.14</c:v>
                </c:pt>
                <c:pt idx="5">
                  <c:v>49.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04</a:t>
                    </a:r>
                  </a:p>
                </c:rich>
              </c:tx>
              <c:dLblPos val="l"/>
              <c:showLegendKey val="0"/>
              <c:showVal val="1"/>
              <c:showCatName val="0"/>
              <c:showSerName val="0"/>
              <c:showPercent val="0"/>
              <c:showBubbleSize val="0"/>
            </c:dLbl>
            <c:dLbl>
              <c:idx val="1"/>
              <c:tx>
                <c:rich>
                  <a:bodyPr/>
                  <a:lstStyle/>
                  <a:p>
                    <a:r>
                      <a:t>IX 41</a:t>
                    </a:r>
                  </a:p>
                  <a:p>
                    <a:r>
                      <a:t>51.75</a:t>
                    </a:r>
                  </a:p>
                </c:rich>
              </c:tx>
              <c:dLblPos val="l"/>
              <c:showLegendKey val="0"/>
              <c:showVal val="1"/>
              <c:showCatName val="0"/>
              <c:showSerName val="0"/>
              <c:showPercent val="0"/>
              <c:showBubbleSize val="0"/>
            </c:dLbl>
            <c:dLbl>
              <c:idx val="2"/>
              <c:tx>
                <c:rich>
                  <a:bodyPr/>
                  <a:lstStyle/>
                  <a:p>
                    <a:r>
                      <a:t>IX 31</a:t>
                    </a:r>
                  </a:p>
                  <a:p>
                    <a:r>
                      <a:t>36.03</a:t>
                    </a:r>
                  </a:p>
                </c:rich>
              </c:tx>
              <c:dLblPos val="l"/>
              <c:showLegendKey val="0"/>
              <c:showVal val="1"/>
              <c:showCatName val="0"/>
              <c:showSerName val="0"/>
              <c:showPercent val="0"/>
              <c:showBubbleSize val="0"/>
            </c:dLbl>
            <c:dLbl>
              <c:idx val="3"/>
              <c:tx>
                <c:rich>
                  <a:bodyPr/>
                  <a:lstStyle/>
                  <a:p>
                    <a:r>
                      <a:t>IX 94</a:t>
                    </a:r>
                  </a:p>
                  <a:p>
                    <a:r>
                      <a:t>42.1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1</c:v>
                </c:pt>
                <c:pt idx="3">
                  <c:v>IX 94</c:v>
                </c:pt>
                <c:pt idx="4">
                  <c:v/>
                </c:pt>
                <c:pt idx="5">
                  <c:v/>
                </c:pt>
              </c:strCache>
            </c:strRef>
          </c:cat>
          <c:val>
            <c:numRef>
              <c:f>Sheet1!$C$2:$C$7</c:f>
              <c:numCache>
                <c:formatCode>General</c:formatCode>
                <c:ptCount val="6"/>
                <c:pt idx="0">
                  <c:v>30.04</c:v>
                </c:pt>
                <c:pt idx="1">
                  <c:v>51.75</c:v>
                </c:pt>
                <c:pt idx="2">
                  <c:v>36.03</c:v>
                </c:pt>
                <c:pt idx="3">
                  <c:v>42.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1</c:v>
                </c:pt>
                <c:pt idx="3">
                  <c:v>IX 94</c:v>
                </c:pt>
                <c:pt idx="4">
                  <c:v/>
                </c:pt>
                <c:pt idx="5">
                  <c:v/>
                </c:pt>
              </c:strCache>
            </c:strRef>
          </c:cat>
          <c:val>
            <c:numRef>
              <c:f>Sheet1!$D$2:$D$7</c:f>
              <c:numCache>
                <c:formatCode>General</c:formatCode>
                <c:ptCount val="6"/>
                <c:pt idx="0">
                  <c:v>83.58</c:v>
                </c:pt>
                <c:pt idx="1">
                  <c:v>127.74</c:v>
                </c:pt>
                <c:pt idx="2">
                  <c:v>116.0</c:v>
                </c:pt>
                <c:pt idx="4">
                  <c:v>110.1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1</c:v>
                </c:pt>
                <c:pt idx="3">
                  <c:v>IX 94</c:v>
                </c:pt>
                <c:pt idx="4">
                  <c:v/>
                </c:pt>
                <c:pt idx="5">
                  <c:v/>
                </c:pt>
              </c:strCache>
            </c:strRef>
          </c:cat>
          <c:val>
            <c:numRef>
              <c:f>Sheet1!$E$2:$E$7</c:f>
              <c:numCache>
                <c:formatCode>General</c:formatCode>
                <c:ptCount val="6"/>
                <c:pt idx="0">
                  <c:v>51.06</c:v>
                </c:pt>
                <c:pt idx="2">
                  <c:v>46.39</c:v>
                </c:pt>
                <c:pt idx="5">
                  <c:v>48.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1</c:v>
                </c:pt>
                <c:pt idx="3">
                  <c:v>IX 94</c:v>
                </c:pt>
                <c:pt idx="4">
                  <c:v/>
                </c:pt>
                <c:pt idx="5">
                  <c:v/>
                </c:pt>
              </c:strCache>
            </c:strRef>
          </c:cat>
          <c:val>
            <c:numRef>
              <c:f>Sheet1!$F$2:$F$7</c:f>
              <c:numCache>
                <c:formatCode>General</c:formatCode>
                <c:ptCount val="6"/>
                <c:pt idx="1">
                  <c:v>47.39</c:v>
                </c:pt>
                <c:pt idx="2">
                  <c:v>45.19</c:v>
                </c:pt>
                <c:pt idx="3">
                  <c:v>44.66</c:v>
                </c:pt>
                <c:pt idx="4">
                  <c:v>46.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6366"/>
          <c:min val="29.53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4</c:v>
                </c:pt>
                <c:pt idx="1">
                  <c:v>IX 41</c:v>
                </c:pt>
                <c:pt idx="2">
                  <c:v>IX 32</c:v>
                </c:pt>
                <c:pt idx="3">
                  <c:v/>
                </c:pt>
                <c:pt idx="4">
                  <c:v>IX 94</c:v>
                </c:pt>
                <c:pt idx="5">
                  <c:v/>
                </c:pt>
              </c:strCache>
            </c:strRef>
          </c:cat>
          <c:val>
            <c:numRef>
              <c:f>Sheet1!$B$2:$B$7</c:f>
              <c:numCache>
                <c:formatCode>General</c:formatCode>
                <c:ptCount val="6"/>
                <c:pt idx="0">
                  <c:v>51.04</c:v>
                </c:pt>
                <c:pt idx="1">
                  <c:v>63.57</c:v>
                </c:pt>
                <c:pt idx="2">
                  <c:v>59.96</c:v>
                </c:pt>
                <c:pt idx="3">
                  <c:v>146.37</c:v>
                </c:pt>
                <c:pt idx="4">
                  <c:v>42.87</c:v>
                </c:pt>
                <c:pt idx="5">
                  <c:v>48.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4</a:t>
                    </a:r>
                  </a:p>
                  <a:p>
                    <a:r>
                      <a:t>29.17</a:t>
                    </a:r>
                  </a:p>
                </c:rich>
              </c:tx>
              <c:dLblPos val="l"/>
              <c:showLegendKey val="0"/>
              <c:showVal val="1"/>
              <c:showCatName val="0"/>
              <c:showSerName val="0"/>
              <c:showPercent val="0"/>
              <c:showBubbleSize val="0"/>
            </c:dLbl>
            <c:dLbl>
              <c:idx val="1"/>
              <c:tx>
                <c:rich>
                  <a:bodyPr/>
                  <a:lstStyle/>
                  <a:p>
                    <a:r>
                      <a:t>IX 41</a:t>
                    </a:r>
                  </a:p>
                  <a:p>
                    <a:r>
                      <a:t>52.7</a:t>
                    </a:r>
                  </a:p>
                </c:rich>
              </c:tx>
              <c:dLblPos val="l"/>
              <c:showLegendKey val="0"/>
              <c:showVal val="1"/>
              <c:showCatName val="0"/>
              <c:showSerName val="0"/>
              <c:showPercent val="0"/>
              <c:showBubbleSize val="0"/>
            </c:dLbl>
            <c:dLbl>
              <c:idx val="2"/>
              <c:tx>
                <c:rich>
                  <a:bodyPr/>
                  <a:lstStyle/>
                  <a:p>
                    <a:r>
                      <a:t>IX 32</a:t>
                    </a:r>
                  </a:p>
                  <a:p>
                    <a:r>
                      <a:t>36.2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4</a:t>
                    </a:r>
                  </a:p>
                  <a:p>
                    <a:r>
                      <a:t>41.14</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4</c:v>
                </c:pt>
                <c:pt idx="1">
                  <c:v>IX 41</c:v>
                </c:pt>
                <c:pt idx="2">
                  <c:v>IX 32</c:v>
                </c:pt>
                <c:pt idx="3">
                  <c:v/>
                </c:pt>
                <c:pt idx="4">
                  <c:v>IX 94</c:v>
                </c:pt>
                <c:pt idx="5">
                  <c:v/>
                </c:pt>
              </c:strCache>
            </c:strRef>
          </c:cat>
          <c:val>
            <c:numRef>
              <c:f>Sheet1!$C$2:$C$7</c:f>
              <c:numCache>
                <c:formatCode>General</c:formatCode>
                <c:ptCount val="6"/>
                <c:pt idx="0">
                  <c:v>29.17</c:v>
                </c:pt>
                <c:pt idx="1">
                  <c:v>52.7</c:v>
                </c:pt>
                <c:pt idx="2">
                  <c:v>36.21</c:v>
                </c:pt>
                <c:pt idx="4">
                  <c:v>41.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4</c:v>
                </c:pt>
                <c:pt idx="1">
                  <c:v>IX 41</c:v>
                </c:pt>
                <c:pt idx="2">
                  <c:v>IX 32</c:v>
                </c:pt>
                <c:pt idx="3">
                  <c:v/>
                </c:pt>
                <c:pt idx="4">
                  <c:v>IX 94</c:v>
                </c:pt>
                <c:pt idx="5">
                  <c:v/>
                </c:pt>
              </c:strCache>
            </c:strRef>
          </c:cat>
          <c:val>
            <c:numRef>
              <c:f>Sheet1!$D$2:$D$7</c:f>
              <c:numCache>
                <c:formatCode>General</c:formatCode>
                <c:ptCount val="6"/>
                <c:pt idx="0">
                  <c:v>84.81</c:v>
                </c:pt>
                <c:pt idx="1">
                  <c:v>127.34</c:v>
                </c:pt>
                <c:pt idx="2">
                  <c:v>112.99</c:v>
                </c:pt>
                <c:pt idx="3">
                  <c:v>10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4</c:v>
                </c:pt>
                <c:pt idx="1">
                  <c:v>IX 41</c:v>
                </c:pt>
                <c:pt idx="2">
                  <c:v>IX 32</c:v>
                </c:pt>
                <c:pt idx="3">
                  <c:v/>
                </c:pt>
                <c:pt idx="4">
                  <c:v>IX 94</c:v>
                </c:pt>
                <c:pt idx="5">
                  <c:v/>
                </c:pt>
              </c:strCache>
            </c:strRef>
          </c:cat>
          <c:val>
            <c:numRef>
              <c:f>Sheet1!$E$2:$E$7</c:f>
              <c:numCache>
                <c:formatCode>General</c:formatCode>
                <c:ptCount val="6"/>
                <c:pt idx="0">
                  <c:v>50.06</c:v>
                </c:pt>
                <c:pt idx="2">
                  <c:v>43.4</c:v>
                </c:pt>
                <c:pt idx="5">
                  <c:v>47.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4</c:v>
                </c:pt>
                <c:pt idx="1">
                  <c:v>IX 41</c:v>
                </c:pt>
                <c:pt idx="2">
                  <c:v>IX 32</c:v>
                </c:pt>
                <c:pt idx="3">
                  <c:v/>
                </c:pt>
                <c:pt idx="4">
                  <c:v>IX 94</c:v>
                </c:pt>
                <c:pt idx="5">
                  <c:v/>
                </c:pt>
              </c:strCache>
            </c:strRef>
          </c:cat>
          <c:val>
            <c:numRef>
              <c:f>Sheet1!$F$2:$F$7</c:f>
              <c:numCache>
                <c:formatCode>General</c:formatCode>
                <c:ptCount val="6"/>
                <c:pt idx="1">
                  <c:v>48.85</c:v>
                </c:pt>
                <c:pt idx="2">
                  <c:v>48.07</c:v>
                </c:pt>
                <c:pt idx="3">
                  <c:v>46.58</c:v>
                </c:pt>
                <c:pt idx="4">
                  <c:v>43.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6.8699"/>
          <c:min val="28.67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1</c:v>
                </c:pt>
                <c:pt idx="2">
                  <c:v>IX 29</c:v>
                </c:pt>
                <c:pt idx="3">
                  <c:v/>
                </c:pt>
                <c:pt idx="4">
                  <c:v>IX 95</c:v>
                </c:pt>
                <c:pt idx="5">
                  <c:v/>
                </c:pt>
              </c:strCache>
            </c:strRef>
          </c:cat>
          <c:val>
            <c:numRef>
              <c:f>Sheet1!$B$2:$B$7</c:f>
              <c:numCache>
                <c:formatCode>General</c:formatCode>
                <c:ptCount val="6"/>
                <c:pt idx="0">
                  <c:v>58.95</c:v>
                </c:pt>
                <c:pt idx="1">
                  <c:v>107.66</c:v>
                </c:pt>
                <c:pt idx="2">
                  <c:v>95.31</c:v>
                </c:pt>
                <c:pt idx="3">
                  <c:v>236.92</c:v>
                </c:pt>
                <c:pt idx="4">
                  <c:v>44.52</c:v>
                </c:pt>
                <c:pt idx="5">
                  <c:v>52.5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5</a:t>
                    </a:r>
                  </a:p>
                  <a:p>
                    <a:r>
                      <a:t>30.07</a:t>
                    </a:r>
                  </a:p>
                </c:rich>
              </c:tx>
              <c:dLblPos val="l"/>
              <c:showLegendKey val="0"/>
              <c:showVal val="1"/>
              <c:showCatName val="0"/>
              <c:showSerName val="0"/>
              <c:showPercent val="0"/>
              <c:showBubbleSize val="0"/>
            </c:dLbl>
            <c:dLbl>
              <c:idx val="1"/>
              <c:tx>
                <c:rich>
                  <a:bodyPr/>
                  <a:lstStyle/>
                  <a:p>
                    <a:r>
                      <a:t>IX 41</a:t>
                    </a:r>
                  </a:p>
                  <a:p>
                    <a:r>
                      <a:t>54.46</a:t>
                    </a:r>
                  </a:p>
                </c:rich>
              </c:tx>
              <c:dLblPos val="l"/>
              <c:showLegendKey val="0"/>
              <c:showVal val="1"/>
              <c:showCatName val="0"/>
              <c:showSerName val="0"/>
              <c:showPercent val="0"/>
              <c:showBubbleSize val="0"/>
            </c:dLbl>
            <c:dLbl>
              <c:idx val="2"/>
              <c:tx>
                <c:rich>
                  <a:bodyPr/>
                  <a:lstStyle/>
                  <a:p>
                    <a:r>
                      <a:t>IX 29</a:t>
                    </a:r>
                  </a:p>
                  <a:p>
                    <a:r>
                      <a:t>37.5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5</a:t>
                    </a:r>
                  </a:p>
                  <a:p>
                    <a:r>
                      <a:t>42.5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1</c:v>
                </c:pt>
                <c:pt idx="2">
                  <c:v>IX 29</c:v>
                </c:pt>
                <c:pt idx="3">
                  <c:v/>
                </c:pt>
                <c:pt idx="4">
                  <c:v>IX 95</c:v>
                </c:pt>
                <c:pt idx="5">
                  <c:v/>
                </c:pt>
              </c:strCache>
            </c:strRef>
          </c:cat>
          <c:val>
            <c:numRef>
              <c:f>Sheet1!$C$2:$C$7</c:f>
              <c:numCache>
                <c:formatCode>General</c:formatCode>
                <c:ptCount val="6"/>
                <c:pt idx="0">
                  <c:v>30.07</c:v>
                </c:pt>
                <c:pt idx="1">
                  <c:v>54.46</c:v>
                </c:pt>
                <c:pt idx="2">
                  <c:v>37.55</c:v>
                </c:pt>
                <c:pt idx="4">
                  <c:v>42.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1</c:v>
                </c:pt>
                <c:pt idx="2">
                  <c:v>IX 29</c:v>
                </c:pt>
                <c:pt idx="3">
                  <c:v/>
                </c:pt>
                <c:pt idx="4">
                  <c:v>IX 95</c:v>
                </c:pt>
                <c:pt idx="5">
                  <c:v/>
                </c:pt>
              </c:strCache>
            </c:strRef>
          </c:cat>
          <c:val>
            <c:numRef>
              <c:f>Sheet1!$D$2:$D$7</c:f>
              <c:numCache>
                <c:formatCode>General</c:formatCode>
                <c:ptCount val="6"/>
                <c:pt idx="0">
                  <c:v>84.84</c:v>
                </c:pt>
                <c:pt idx="1">
                  <c:v>132.19</c:v>
                </c:pt>
                <c:pt idx="2">
                  <c:v>130.78</c:v>
                </c:pt>
                <c:pt idx="3">
                  <c:v>119.3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1</c:v>
                </c:pt>
                <c:pt idx="2">
                  <c:v>IX 29</c:v>
                </c:pt>
                <c:pt idx="3">
                  <c:v/>
                </c:pt>
                <c:pt idx="4">
                  <c:v>IX 95</c:v>
                </c:pt>
                <c:pt idx="5">
                  <c:v/>
                </c:pt>
              </c:strCache>
            </c:strRef>
          </c:cat>
          <c:val>
            <c:numRef>
              <c:f>Sheet1!$E$2:$E$7</c:f>
              <c:numCache>
                <c:formatCode>General</c:formatCode>
                <c:ptCount val="6"/>
                <c:pt idx="0">
                  <c:v>65.98</c:v>
                </c:pt>
                <c:pt idx="1">
                  <c:v>133.45</c:v>
                </c:pt>
                <c:pt idx="2">
                  <c:v>117.45</c:v>
                </c:pt>
                <c:pt idx="3">
                  <c:v>83.8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1</c:v>
                </c:pt>
                <c:pt idx="2">
                  <c:v>IX 29</c:v>
                </c:pt>
                <c:pt idx="3">
                  <c:v/>
                </c:pt>
                <c:pt idx="4">
                  <c:v>IX 95</c:v>
                </c:pt>
                <c:pt idx="5">
                  <c:v/>
                </c:pt>
              </c:strCache>
            </c:strRef>
          </c:cat>
          <c:val>
            <c:numRef>
              <c:f>Sheet1!$F$2:$F$7</c:f>
              <c:numCache>
                <c:formatCode>General</c:formatCode>
                <c:ptCount val="6"/>
                <c:pt idx="1">
                  <c:v>50.86</c:v>
                </c:pt>
                <c:pt idx="2">
                  <c:v>50.88</c:v>
                </c:pt>
                <c:pt idx="3">
                  <c:v>52.81</c:v>
                </c:pt>
                <c:pt idx="4">
                  <c:v>44.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7.4155"/>
          <c:min val="29.57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0</c:v>
                </c:pt>
                <c:pt idx="3">
                  <c:v>IX 96</c:v>
                </c:pt>
                <c:pt idx="4">
                  <c:v/>
                </c:pt>
                <c:pt idx="5">
                  <c:v/>
                </c:pt>
              </c:strCache>
            </c:strRef>
          </c:cat>
          <c:val>
            <c:numRef>
              <c:f>Sheet1!$B$2:$B$7</c:f>
              <c:numCache>
                <c:formatCode>General</c:formatCode>
                <c:ptCount val="6"/>
                <c:pt idx="0">
                  <c:v>56.63</c:v>
                </c:pt>
                <c:pt idx="1">
                  <c:v>101.09</c:v>
                </c:pt>
                <c:pt idx="2">
                  <c:v>72.15</c:v>
                </c:pt>
                <c:pt idx="3">
                  <c:v>44.57</c:v>
                </c:pt>
                <c:pt idx="4">
                  <c:v>51.44</c:v>
                </c:pt>
                <c:pt idx="5">
                  <c:v>183.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09</a:t>
                    </a:r>
                  </a:p>
                </c:rich>
              </c:tx>
              <c:dLblPos val="l"/>
              <c:showLegendKey val="0"/>
              <c:showVal val="1"/>
              <c:showCatName val="0"/>
              <c:showSerName val="0"/>
              <c:showPercent val="0"/>
              <c:showBubbleSize val="0"/>
            </c:dLbl>
            <c:dLbl>
              <c:idx val="1"/>
              <c:tx>
                <c:rich>
                  <a:bodyPr/>
                  <a:lstStyle/>
                  <a:p>
                    <a:r>
                      <a:t>IX 41</a:t>
                    </a:r>
                  </a:p>
                  <a:p>
                    <a:r>
                      <a:t>53.94</a:t>
                    </a:r>
                  </a:p>
                </c:rich>
              </c:tx>
              <c:dLblPos val="l"/>
              <c:showLegendKey val="0"/>
              <c:showVal val="1"/>
              <c:showCatName val="0"/>
              <c:showSerName val="0"/>
              <c:showPercent val="0"/>
              <c:showBubbleSize val="0"/>
            </c:dLbl>
            <c:dLbl>
              <c:idx val="2"/>
              <c:tx>
                <c:rich>
                  <a:bodyPr/>
                  <a:lstStyle/>
                  <a:p>
                    <a:r>
                      <a:t>IX 30</a:t>
                    </a:r>
                  </a:p>
                  <a:p>
                    <a:r>
                      <a:t>38.01</a:t>
                    </a:r>
                  </a:p>
                </c:rich>
              </c:tx>
              <c:dLblPos val="l"/>
              <c:showLegendKey val="0"/>
              <c:showVal val="1"/>
              <c:showCatName val="0"/>
              <c:showSerName val="0"/>
              <c:showPercent val="0"/>
              <c:showBubbleSize val="0"/>
            </c:dLbl>
            <c:dLbl>
              <c:idx val="3"/>
              <c:tx>
                <c:rich>
                  <a:bodyPr/>
                  <a:lstStyle/>
                  <a:p>
                    <a:r>
                      <a:t>IX 96</a:t>
                    </a:r>
                  </a:p>
                  <a:p>
                    <a:r>
                      <a:t>42.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0</c:v>
                </c:pt>
                <c:pt idx="3">
                  <c:v>IX 96</c:v>
                </c:pt>
                <c:pt idx="4">
                  <c:v/>
                </c:pt>
                <c:pt idx="5">
                  <c:v/>
                </c:pt>
              </c:strCache>
            </c:strRef>
          </c:cat>
          <c:val>
            <c:numRef>
              <c:f>Sheet1!$C$2:$C$7</c:f>
              <c:numCache>
                <c:formatCode>General</c:formatCode>
                <c:ptCount val="6"/>
                <c:pt idx="0">
                  <c:v>30.09</c:v>
                </c:pt>
                <c:pt idx="1">
                  <c:v>53.94</c:v>
                </c:pt>
                <c:pt idx="2">
                  <c:v>38.01</c:v>
                </c:pt>
                <c:pt idx="3">
                  <c:v>42.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0</c:v>
                </c:pt>
                <c:pt idx="3">
                  <c:v>IX 96</c:v>
                </c:pt>
                <c:pt idx="4">
                  <c:v/>
                </c:pt>
                <c:pt idx="5">
                  <c:v/>
                </c:pt>
              </c:strCache>
            </c:strRef>
          </c:cat>
          <c:val>
            <c:numRef>
              <c:f>Sheet1!$D$2:$D$7</c:f>
              <c:numCache>
                <c:formatCode>General</c:formatCode>
                <c:ptCount val="6"/>
                <c:pt idx="0">
                  <c:v>83.82</c:v>
                </c:pt>
                <c:pt idx="1">
                  <c:v>130.11</c:v>
                </c:pt>
                <c:pt idx="2">
                  <c:v>128.1</c:v>
                </c:pt>
                <c:pt idx="5">
                  <c:v>109.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0</c:v>
                </c:pt>
                <c:pt idx="3">
                  <c:v>IX 96</c:v>
                </c:pt>
                <c:pt idx="4">
                  <c:v/>
                </c:pt>
                <c:pt idx="5">
                  <c:v/>
                </c:pt>
              </c:strCache>
            </c:strRef>
          </c:cat>
          <c:val>
            <c:numRef>
              <c:f>Sheet1!$E$2:$E$7</c:f>
              <c:numCache>
                <c:formatCode>General</c:formatCode>
                <c:ptCount val="6"/>
                <c:pt idx="0">
                  <c:v>50.47</c:v>
                </c:pt>
                <c:pt idx="2">
                  <c:v>52.75</c:v>
                </c:pt>
                <c:pt idx="4">
                  <c:v>48.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0</c:v>
                </c:pt>
                <c:pt idx="3">
                  <c:v>IX 96</c:v>
                </c:pt>
                <c:pt idx="4">
                  <c:v/>
                </c:pt>
                <c:pt idx="5">
                  <c:v/>
                </c:pt>
              </c:strCache>
            </c:strRef>
          </c:cat>
          <c:val>
            <c:numRef>
              <c:f>Sheet1!$F$2:$F$7</c:f>
              <c:numCache>
                <c:formatCode>General</c:formatCode>
                <c:ptCount val="6"/>
                <c:pt idx="1">
                  <c:v>51.13</c:v>
                </c:pt>
                <c:pt idx="2">
                  <c:v>50.23</c:v>
                </c:pt>
                <c:pt idx="3">
                  <c:v>44.76</c:v>
                </c:pt>
                <c:pt idx="5">
                  <c:v>5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5985"/>
          <c:min val="29.59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IX 99</c:v>
                </c:pt>
                <c:pt idx="4">
                  <c:v/>
                </c:pt>
                <c:pt idx="5">
                  <c:v/>
                </c:pt>
              </c:strCache>
            </c:strRef>
          </c:cat>
          <c:val>
            <c:numRef>
              <c:f>Sheet1!$B$2:$B$7</c:f>
              <c:numCache>
                <c:formatCode>General</c:formatCode>
                <c:ptCount val="6"/>
                <c:pt idx="0">
                  <c:v>56.06</c:v>
                </c:pt>
                <c:pt idx="1">
                  <c:v>100.54</c:v>
                </c:pt>
                <c:pt idx="2">
                  <c:v>72.54</c:v>
                </c:pt>
                <c:pt idx="3">
                  <c:v>44.55</c:v>
                </c:pt>
                <c:pt idx="4">
                  <c:v>51.11</c:v>
                </c:pt>
                <c:pt idx="5">
                  <c:v>202.3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14</a:t>
                    </a:r>
                  </a:p>
                </c:rich>
              </c:tx>
              <c:dLblPos val="l"/>
              <c:showLegendKey val="0"/>
              <c:showVal val="1"/>
              <c:showCatName val="0"/>
              <c:showSerName val="0"/>
              <c:showPercent val="0"/>
              <c:showBubbleSize val="0"/>
            </c:dLbl>
            <c:dLbl>
              <c:idx val="1"/>
              <c:tx>
                <c:rich>
                  <a:bodyPr/>
                  <a:lstStyle/>
                  <a:p>
                    <a:r>
                      <a:t>IX 43</a:t>
                    </a:r>
                  </a:p>
                  <a:p>
                    <a:r>
                      <a:t>55.36</a:t>
                    </a:r>
                  </a:p>
                </c:rich>
              </c:tx>
              <c:dLblPos val="l"/>
              <c:showLegendKey val="0"/>
              <c:showVal val="1"/>
              <c:showCatName val="0"/>
              <c:showSerName val="0"/>
              <c:showPercent val="0"/>
              <c:showBubbleSize val="0"/>
            </c:dLbl>
            <c:dLbl>
              <c:idx val="2"/>
              <c:tx>
                <c:rich>
                  <a:bodyPr/>
                  <a:lstStyle/>
                  <a:p>
                    <a:r>
                      <a:t>IX 29</a:t>
                    </a:r>
                  </a:p>
                  <a:p>
                    <a:r>
                      <a:t>38.19</a:t>
                    </a:r>
                  </a:p>
                </c:rich>
              </c:tx>
              <c:dLblPos val="l"/>
              <c:showLegendKey val="0"/>
              <c:showVal val="1"/>
              <c:showCatName val="0"/>
              <c:showSerName val="0"/>
              <c:showPercent val="0"/>
              <c:showBubbleSize val="0"/>
            </c:dLbl>
            <c:dLbl>
              <c:idx val="3"/>
              <c:tx>
                <c:rich>
                  <a:bodyPr/>
                  <a:lstStyle/>
                  <a:p>
                    <a:r>
                      <a:t>IX 99</a:t>
                    </a:r>
                  </a:p>
                  <a:p>
                    <a:r>
                      <a:t>44.1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IX 99</c:v>
                </c:pt>
                <c:pt idx="4">
                  <c:v/>
                </c:pt>
                <c:pt idx="5">
                  <c:v/>
                </c:pt>
              </c:strCache>
            </c:strRef>
          </c:cat>
          <c:val>
            <c:numRef>
              <c:f>Sheet1!$C$2:$C$7</c:f>
              <c:numCache>
                <c:formatCode>General</c:formatCode>
                <c:ptCount val="6"/>
                <c:pt idx="0">
                  <c:v>30.14</c:v>
                </c:pt>
                <c:pt idx="1">
                  <c:v>55.36</c:v>
                </c:pt>
                <c:pt idx="2">
                  <c:v>38.19</c:v>
                </c:pt>
                <c:pt idx="3">
                  <c:v>44.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IX 99</c:v>
                </c:pt>
                <c:pt idx="4">
                  <c:v/>
                </c:pt>
                <c:pt idx="5">
                  <c:v/>
                </c:pt>
              </c:strCache>
            </c:strRef>
          </c:cat>
          <c:val>
            <c:numRef>
              <c:f>Sheet1!$D$2:$D$7</c:f>
              <c:numCache>
                <c:formatCode>General</c:formatCode>
                <c:ptCount val="6"/>
                <c:pt idx="0">
                  <c:v>84.08</c:v>
                </c:pt>
                <c:pt idx="1">
                  <c:v>130.11</c:v>
                </c:pt>
                <c:pt idx="2">
                  <c:v>130.44</c:v>
                </c:pt>
                <c:pt idx="5">
                  <c:v>11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IX 99</c:v>
                </c:pt>
                <c:pt idx="4">
                  <c:v/>
                </c:pt>
                <c:pt idx="5">
                  <c:v/>
                </c:pt>
              </c:strCache>
            </c:strRef>
          </c:cat>
          <c:val>
            <c:numRef>
              <c:f>Sheet1!$E$2:$E$7</c:f>
              <c:numCache>
                <c:formatCode>General</c:formatCode>
                <c:ptCount val="6"/>
                <c:pt idx="0">
                  <c:v>50.59</c:v>
                </c:pt>
                <c:pt idx="2">
                  <c:v>51.86</c:v>
                </c:pt>
                <c:pt idx="4">
                  <c:v>48.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IX 99</c:v>
                </c:pt>
                <c:pt idx="4">
                  <c:v/>
                </c:pt>
                <c:pt idx="5">
                  <c:v/>
                </c:pt>
              </c:strCache>
            </c:strRef>
          </c:cat>
          <c:val>
            <c:numRef>
              <c:f>Sheet1!$F$2:$F$7</c:f>
              <c:numCache>
                <c:formatCode>General</c:formatCode>
                <c:ptCount val="6"/>
                <c:pt idx="1">
                  <c:v>51.09</c:v>
                </c:pt>
                <c:pt idx="2">
                  <c:v>50.67</c:v>
                </c:pt>
                <c:pt idx="3">
                  <c:v>44.69</c:v>
                </c:pt>
                <c:pt idx="5">
                  <c:v>51.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2.8616"/>
          <c:min val="29.63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B$2:$B$7</c:f>
              <c:numCache>
                <c:formatCode>General</c:formatCode>
                <c:ptCount val="6"/>
                <c:pt idx="0">
                  <c:v>56.51</c:v>
                </c:pt>
                <c:pt idx="1">
                  <c:v>101.08</c:v>
                </c:pt>
                <c:pt idx="2">
                  <c:v>70.75</c:v>
                </c:pt>
                <c:pt idx="3">
                  <c:v>44.48</c:v>
                </c:pt>
                <c:pt idx="4">
                  <c:v>51.2</c:v>
                </c:pt>
                <c:pt idx="5">
                  <c:v>181.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31</a:t>
                    </a:r>
                  </a:p>
                </c:rich>
              </c:tx>
              <c:dLblPos val="l"/>
              <c:showLegendKey val="0"/>
              <c:showVal val="1"/>
              <c:showCatName val="0"/>
              <c:showSerName val="0"/>
              <c:showPercent val="0"/>
              <c:showBubbleSize val="0"/>
            </c:dLbl>
            <c:dLbl>
              <c:idx val="1"/>
              <c:tx>
                <c:rich>
                  <a:bodyPr/>
                  <a:lstStyle/>
                  <a:p>
                    <a:r>
                      <a:t>IX 42</a:t>
                    </a:r>
                  </a:p>
                  <a:p>
                    <a:r>
                      <a:t>53.87</a:t>
                    </a:r>
                  </a:p>
                </c:rich>
              </c:tx>
              <c:dLblPos val="l"/>
              <c:showLegendKey val="0"/>
              <c:showVal val="1"/>
              <c:showCatName val="0"/>
              <c:showSerName val="0"/>
              <c:showPercent val="0"/>
              <c:showBubbleSize val="0"/>
            </c:dLbl>
            <c:dLbl>
              <c:idx val="2"/>
              <c:tx>
                <c:rich>
                  <a:bodyPr/>
                  <a:lstStyle/>
                  <a:p>
                    <a:r>
                      <a:t>IX 30</a:t>
                    </a:r>
                  </a:p>
                  <a:p>
                    <a:r>
                      <a:t>37.95</a:t>
                    </a:r>
                  </a:p>
                </c:rich>
              </c:tx>
              <c:dLblPos val="l"/>
              <c:showLegendKey val="0"/>
              <c:showVal val="1"/>
              <c:showCatName val="0"/>
              <c:showSerName val="0"/>
              <c:showPercent val="0"/>
              <c:showBubbleSize val="0"/>
            </c:dLbl>
            <c:dLbl>
              <c:idx val="3"/>
              <c:tx>
                <c:rich>
                  <a:bodyPr/>
                  <a:lstStyle/>
                  <a:p>
                    <a:r>
                      <a:t>IX 97</a:t>
                    </a:r>
                  </a:p>
                  <a:p>
                    <a:r>
                      <a:t>43.4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C$2:$C$7</c:f>
              <c:numCache>
                <c:formatCode>General</c:formatCode>
                <c:ptCount val="6"/>
                <c:pt idx="0">
                  <c:v>30.31</c:v>
                </c:pt>
                <c:pt idx="1">
                  <c:v>53.87</c:v>
                </c:pt>
                <c:pt idx="2">
                  <c:v>37.95</c:v>
                </c:pt>
                <c:pt idx="3">
                  <c:v>4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D$2:$D$7</c:f>
              <c:numCache>
                <c:formatCode>General</c:formatCode>
                <c:ptCount val="6"/>
                <c:pt idx="0">
                  <c:v>83.49</c:v>
                </c:pt>
                <c:pt idx="1">
                  <c:v>129.57</c:v>
                </c:pt>
                <c:pt idx="2">
                  <c:v>128.47</c:v>
                </c:pt>
                <c:pt idx="5">
                  <c:v>109.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E$2:$E$7</c:f>
              <c:numCache>
                <c:formatCode>General</c:formatCode>
                <c:ptCount val="6"/>
                <c:pt idx="0">
                  <c:v>49.76</c:v>
                </c:pt>
                <c:pt idx="2">
                  <c:v>51.57</c:v>
                </c:pt>
                <c:pt idx="4">
                  <c:v>48.2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F$2:$F$7</c:f>
              <c:numCache>
                <c:formatCode>General</c:formatCode>
                <c:ptCount val="6"/>
                <c:pt idx="0">
                  <c:v>73.33</c:v>
                </c:pt>
                <c:pt idx="1">
                  <c:v>50.78</c:v>
                </c:pt>
                <c:pt idx="2">
                  <c:v>51.06</c:v>
                </c:pt>
                <c:pt idx="3">
                  <c:v>44.61</c:v>
                </c:pt>
                <c:pt idx="4">
                  <c:v>29.0</c:v>
                </c:pt>
                <c:pt idx="5">
                  <c:v>51.9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8353"/>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3</c:v>
                </c:pt>
                <c:pt idx="4">
                  <c:v/>
                </c:pt>
                <c:pt idx="5">
                  <c:v/>
                </c:pt>
              </c:strCache>
            </c:strRef>
          </c:cat>
          <c:val>
            <c:numRef>
              <c:f>Sheet1!$B$2:$B$7</c:f>
              <c:numCache>
                <c:formatCode>General</c:formatCode>
                <c:ptCount val="6"/>
                <c:pt idx="0">
                  <c:v>55.49</c:v>
                </c:pt>
                <c:pt idx="1">
                  <c:v>96.27</c:v>
                </c:pt>
                <c:pt idx="2">
                  <c:v>69.29</c:v>
                </c:pt>
                <c:pt idx="3">
                  <c:v>44.58</c:v>
                </c:pt>
                <c:pt idx="4">
                  <c:v>50.96</c:v>
                </c:pt>
                <c:pt idx="5">
                  <c:v>141.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19</a:t>
                    </a:r>
                  </a:p>
                </c:rich>
              </c:tx>
              <c:dLblPos val="l"/>
              <c:showLegendKey val="0"/>
              <c:showVal val="1"/>
              <c:showCatName val="0"/>
              <c:showSerName val="0"/>
              <c:showPercent val="0"/>
              <c:showBubbleSize val="0"/>
            </c:dLbl>
            <c:dLbl>
              <c:idx val="1"/>
              <c:tx>
                <c:rich>
                  <a:bodyPr/>
                  <a:lstStyle/>
                  <a:p>
                    <a:r>
                      <a:t>IX 42</a:t>
                    </a:r>
                  </a:p>
                  <a:p>
                    <a:r>
                      <a:t>54.27</a:t>
                    </a:r>
                  </a:p>
                </c:rich>
              </c:tx>
              <c:dLblPos val="l"/>
              <c:showLegendKey val="0"/>
              <c:showVal val="1"/>
              <c:showCatName val="0"/>
              <c:showSerName val="0"/>
              <c:showPercent val="0"/>
              <c:showBubbleSize val="0"/>
            </c:dLbl>
            <c:dLbl>
              <c:idx val="2"/>
              <c:tx>
                <c:rich>
                  <a:bodyPr/>
                  <a:lstStyle/>
                  <a:p>
                    <a:r>
                      <a:t>IX 29</a:t>
                    </a:r>
                  </a:p>
                  <a:p>
                    <a:r>
                      <a:t>37.22</a:t>
                    </a:r>
                  </a:p>
                </c:rich>
              </c:tx>
              <c:dLblPos val="l"/>
              <c:showLegendKey val="0"/>
              <c:showVal val="1"/>
              <c:showCatName val="0"/>
              <c:showSerName val="0"/>
              <c:showPercent val="0"/>
              <c:showBubbleSize val="0"/>
            </c:dLbl>
            <c:dLbl>
              <c:idx val="3"/>
              <c:tx>
                <c:rich>
                  <a:bodyPr/>
                  <a:lstStyle/>
                  <a:p>
                    <a:r>
                      <a:t>IX 103</a:t>
                    </a:r>
                  </a:p>
                  <a:p>
                    <a:r>
                      <a:t>45.7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3</c:v>
                </c:pt>
                <c:pt idx="4">
                  <c:v/>
                </c:pt>
                <c:pt idx="5">
                  <c:v/>
                </c:pt>
              </c:strCache>
            </c:strRef>
          </c:cat>
          <c:val>
            <c:numRef>
              <c:f>Sheet1!$C$2:$C$7</c:f>
              <c:numCache>
                <c:formatCode>General</c:formatCode>
                <c:ptCount val="6"/>
                <c:pt idx="0">
                  <c:v>30.19</c:v>
                </c:pt>
                <c:pt idx="1">
                  <c:v>54.27</c:v>
                </c:pt>
                <c:pt idx="2">
                  <c:v>37.22</c:v>
                </c:pt>
                <c:pt idx="3">
                  <c:v>45.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3</c:v>
                </c:pt>
                <c:pt idx="4">
                  <c:v/>
                </c:pt>
                <c:pt idx="5">
                  <c:v/>
                </c:pt>
              </c:strCache>
            </c:strRef>
          </c:cat>
          <c:val>
            <c:numRef>
              <c:f>Sheet1!$D$2:$D$7</c:f>
              <c:numCache>
                <c:formatCode>General</c:formatCode>
                <c:ptCount val="6"/>
                <c:pt idx="0">
                  <c:v>83.49</c:v>
                </c:pt>
                <c:pt idx="1">
                  <c:v>129.34</c:v>
                </c:pt>
                <c:pt idx="2">
                  <c:v>127.54</c:v>
                </c:pt>
                <c:pt idx="5">
                  <c:v>103.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3</c:v>
                </c:pt>
                <c:pt idx="4">
                  <c:v/>
                </c:pt>
                <c:pt idx="5">
                  <c:v/>
                </c:pt>
              </c:strCache>
            </c:strRef>
          </c:cat>
          <c:val>
            <c:numRef>
              <c:f>Sheet1!$E$2:$E$7</c:f>
              <c:numCache>
                <c:formatCode>General</c:formatCode>
                <c:ptCount val="6"/>
                <c:pt idx="0">
                  <c:v>49.17</c:v>
                </c:pt>
                <c:pt idx="2">
                  <c:v>51.93</c:v>
                </c:pt>
                <c:pt idx="4">
                  <c:v>48.5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3</c:v>
                </c:pt>
                <c:pt idx="4">
                  <c:v/>
                </c:pt>
                <c:pt idx="5">
                  <c:v/>
                </c:pt>
              </c:strCache>
            </c:strRef>
          </c:cat>
          <c:val>
            <c:numRef>
              <c:f>Sheet1!$F$2:$F$7</c:f>
              <c:numCache>
                <c:formatCode>General</c:formatCode>
                <c:ptCount val="6"/>
                <c:pt idx="1">
                  <c:v>50.9</c:v>
                </c:pt>
                <c:pt idx="2">
                  <c:v>50.44</c:v>
                </c:pt>
                <c:pt idx="3">
                  <c:v>44.58</c:v>
                </c:pt>
                <c:pt idx="5">
                  <c:v>51.9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927"/>
          <c:min val="29.691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6.34</c:v>
                </c:pt>
                <c:pt idx="1">
                  <c:v>14.06</c:v>
                </c:pt>
                <c:pt idx="2">
                  <c:v>23.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3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89.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2">
                  <c:v>15.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1">
                  <c:v>18.07</c:v>
                </c:pt>
                <c:pt idx="2">
                  <c:v>38.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9.8063"/>
          <c:min val="13.55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6.41</c:v>
                </c:pt>
                <c:pt idx="1">
                  <c:v>14.06</c:v>
                </c:pt>
                <c:pt idx="2">
                  <c:v>23.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5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0.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2">
                  <c:v>15.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1">
                  <c:v>18.0</c:v>
                </c:pt>
                <c:pt idx="2">
                  <c:v>38.7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2725"/>
          <c:min val="13.55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6.2</c:v>
                </c:pt>
                <c:pt idx="1">
                  <c:v>14.34</c:v>
                </c:pt>
                <c:pt idx="2">
                  <c:v>22.0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6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0.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2">
                  <c:v>15.2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1">
                  <c:v>17.92</c:v>
                </c:pt>
                <c:pt idx="2">
                  <c:v>38.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668"/>
          <c:min val="13.83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B$2:$B$4</c:f>
              <c:numCache>
                <c:formatCode>General</c:formatCode>
                <c:ptCount val="3"/>
                <c:pt idx="0">
                  <c:v>55.45</c:v>
                </c:pt>
                <c:pt idx="1">
                  <c:v>14.13</c:v>
                </c:pt>
                <c:pt idx="2">
                  <c:v>21.3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6</a:t>
                    </a:r>
                  </a:p>
                  <a:p>
                    <a:r>
                      <a:t>31.7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C$2:$C$4</c:f>
              <c:numCache>
                <c:formatCode>General</c:formatCode>
                <c:ptCount val="3"/>
                <c:pt idx="0">
                  <c:v>31.7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D$2:$D$4</c:f>
              <c:numCache>
                <c:formatCode>General</c:formatCode>
                <c:ptCount val="3"/>
                <c:pt idx="0">
                  <c:v>89.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E$2:$E$4</c:f>
              <c:numCache>
                <c:formatCode>General</c:formatCode>
                <c:ptCount val="3"/>
                <c:pt idx="2">
                  <c:v>15.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F$2:$F$4</c:f>
              <c:numCache>
                <c:formatCode>General</c:formatCode>
                <c:ptCount val="3"/>
                <c:pt idx="1">
                  <c:v>17.99</c:v>
                </c:pt>
                <c:pt idx="2">
                  <c:v>38.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9.6714"/>
          <c:min val="13.62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B$2:$B$4</c:f>
              <c:numCache>
                <c:formatCode>General</c:formatCode>
                <c:ptCount val="3"/>
                <c:pt idx="0">
                  <c:v>5.1</c:v>
                </c:pt>
                <c:pt idx="1">
                  <c:v>28.07</c:v>
                </c:pt>
                <c:pt idx="2">
                  <c:v>5.1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31.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C$2:$C$4</c:f>
              <c:numCache>
                <c:formatCode>General</c:formatCode>
                <c:ptCount val="3"/>
                <c:pt idx="1">
                  <c:v>3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D$2:$D$4</c:f>
              <c:numCache>
                <c:formatCode>General</c:formatCode>
                <c:ptCount val="3"/>
                <c:pt idx="0">
                  <c:v>5.73</c:v>
                </c:pt>
                <c:pt idx="2">
                  <c:v>3.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estilla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E$2:$E$4</c:f>
              <c:numCache>
                <c:formatCode>General</c:formatCode>
                <c:ptCount val="3"/>
                <c:pt idx="2">
                  <c:v>4.8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Artig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F$2:$F$4</c:f>
              <c:numCache>
                <c:formatCode>General</c:formatCode>
                <c:ptCount val="3"/>
                <c:pt idx="2">
                  <c:v>4.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103300000000004"/>
          <c:min val="3.45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7.55</c:v>
                </c:pt>
                <c:pt idx="1">
                  <c:v>14.09</c:v>
                </c:pt>
                <c:pt idx="2">
                  <c:v>23.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1.6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1.6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2.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2">
                  <c:v>15.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1">
                  <c:v>17.94</c:v>
                </c:pt>
                <c:pt idx="2">
                  <c:v>38.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545"/>
          <c:min val="13.58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7.55</c:v>
                </c:pt>
                <c:pt idx="1">
                  <c:v>14.09</c:v>
                </c:pt>
                <c:pt idx="2">
                  <c:v>23.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1.5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1.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2.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2">
                  <c:v>15.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1">
                  <c:v>17.94</c:v>
                </c:pt>
                <c:pt idx="2">
                  <c:v>38.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6996"/>
          <c:min val="13.58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B$2:$B$4</c:f>
              <c:numCache>
                <c:formatCode>General</c:formatCode>
                <c:ptCount val="3"/>
                <c:pt idx="0">
                  <c:v>55.73</c:v>
                </c:pt>
                <c:pt idx="1">
                  <c:v>14.06</c:v>
                </c:pt>
                <c:pt idx="2">
                  <c:v>23.0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6</a:t>
                    </a:r>
                  </a:p>
                  <a:p>
                    <a:r>
                      <a:t>31.6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C$2:$C$4</c:f>
              <c:numCache>
                <c:formatCode>General</c:formatCode>
                <c:ptCount val="3"/>
                <c:pt idx="0">
                  <c:v>31.6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D$2:$D$4</c:f>
              <c:numCache>
                <c:formatCode>General</c:formatCode>
                <c:ptCount val="3"/>
                <c:pt idx="0">
                  <c:v>89.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E$2:$E$4</c:f>
              <c:numCache>
                <c:formatCode>General</c:formatCode>
                <c:ptCount val="3"/>
                <c:pt idx="2">
                  <c:v>15.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F$2:$F$4</c:f>
              <c:numCache>
                <c:formatCode>General</c:formatCode>
                <c:ptCount val="3"/>
                <c:pt idx="1">
                  <c:v>18.05</c:v>
                </c:pt>
                <c:pt idx="2">
                  <c:v>38.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9.7554"/>
          <c:min val="13.555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5.72</c:v>
                </c:pt>
                <c:pt idx="1">
                  <c:v>14.08</c:v>
                </c:pt>
                <c:pt idx="2">
                  <c:v>21.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1.6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1.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1.9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2">
                  <c:v>15.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1">
                  <c:v>17.69</c:v>
                </c:pt>
                <c:pt idx="2">
                  <c:v>38.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4112"/>
          <c:min val="13.5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9.99</c:v>
                </c:pt>
                <c:pt idx="1">
                  <c:v>14.47</c:v>
                </c:pt>
                <c:pt idx="2">
                  <c:v>24.0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1.6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1.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3.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2">
                  <c:v>15.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1">
                  <c:v>17.91</c:v>
                </c:pt>
                <c:pt idx="2">
                  <c:v>38.7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6108"/>
          <c:min val="13.96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4.91</c:v>
                </c:pt>
                <c:pt idx="1">
                  <c:v>14.26</c:v>
                </c:pt>
                <c:pt idx="2">
                  <c:v>27.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2</a:t>
                    </a:r>
                  </a:p>
                  <a:p>
                    <a:r>
                      <a:t>31.7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1.7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8.3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7.74</c:v>
                </c:pt>
                <c:pt idx="2">
                  <c:v>38.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8458"/>
          <c:min val="13.75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2.51</c:v>
                </c:pt>
                <c:pt idx="1">
                  <c:v>13.75</c:v>
                </c:pt>
                <c:pt idx="2">
                  <c:v>2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3</a:t>
                    </a:r>
                  </a:p>
                  <a:p>
                    <a:r>
                      <a:t>31.7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7.81</c:v>
                </c:pt>
                <c:pt idx="2">
                  <c:v>39.3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6.696"/>
          <c:min val="13.25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7.67</c:v>
                </c:pt>
                <c:pt idx="1">
                  <c:v>14.13</c:v>
                </c:pt>
                <c:pt idx="2">
                  <c:v>2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6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1.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2">
                  <c:v>15.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1">
                  <c:v>17.93</c:v>
                </c:pt>
                <c:pt idx="2">
                  <c:v>38.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2574"/>
          <c:min val="13.63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0.73</c:v>
                </c:pt>
                <c:pt idx="1">
                  <c:v>13.62</c:v>
                </c:pt>
                <c:pt idx="2">
                  <c:v>23.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3</a:t>
                    </a:r>
                  </a:p>
                  <a:p>
                    <a:r>
                      <a:t>31.4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4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4.5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8.08</c:v>
                </c:pt>
                <c:pt idx="2">
                  <c:v>39.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5.0506"/>
          <c:min val="13.121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8.76</c:v>
                </c:pt>
                <c:pt idx="1">
                  <c:v>13.7</c:v>
                </c:pt>
                <c:pt idx="2">
                  <c:v>2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2.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2.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2">
                  <c:v>15.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1">
                  <c:v>17.93</c:v>
                </c:pt>
                <c:pt idx="2">
                  <c:v>3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0154"/>
          <c:min val="13.19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4.08</c:v>
                </c:pt>
                <c:pt idx="1">
                  <c:v>13.43</c:v>
                </c:pt>
                <c:pt idx="2">
                  <c:v>21.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0.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0.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0.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2">
                  <c:v>15.4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1">
                  <c:v>18.16</c:v>
                </c:pt>
                <c:pt idx="2">
                  <c:v>3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9918"/>
          <c:min val="12.9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B$2:$B$4</c:f>
              <c:numCache>
                <c:formatCode>General</c:formatCode>
                <c:ptCount val="3"/>
                <c:pt idx="0">
                  <c:v>53.49</c:v>
                </c:pt>
                <c:pt idx="1">
                  <c:v>15.44</c:v>
                </c:pt>
                <c:pt idx="2">
                  <c:v>22.9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31.0</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C$2:$C$4</c:f>
              <c:numCache>
                <c:formatCode>General</c:formatCode>
                <c:ptCount val="3"/>
                <c:pt idx="0">
                  <c:v>3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ur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D$2:$D$4</c:f>
              <c:numCache>
                <c:formatCode>General</c:formatCode>
                <c:ptCount val="3"/>
                <c:pt idx="1">
                  <c:v>24.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E$2:$E$4</c:f>
              <c:numCache>
                <c:formatCode>General</c:formatCode>
                <c:ptCount val="3"/>
                <c:pt idx="2">
                  <c:v>15.6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F$2:$F$4</c:f>
              <c:numCache>
                <c:formatCode>General</c:formatCode>
                <c:ptCount val="3"/>
                <c:pt idx="1">
                  <c:v>18.06</c:v>
                </c:pt>
                <c:pt idx="2">
                  <c:v>39.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9887"/>
          <c:min val="14.93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5.73</c:v>
                </c:pt>
                <c:pt idx="1">
                  <c:v>14.06</c:v>
                </c:pt>
                <c:pt idx="2">
                  <c:v>23.0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6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89.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2">
                  <c:v>15.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1">
                  <c:v>18.05</c:v>
                </c:pt>
                <c:pt idx="2">
                  <c:v>38.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9.7141"/>
          <c:min val="13.555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19</c:v>
                </c:pt>
                <c:pt idx="1">
                  <c:v>13.92</c:v>
                </c:pt>
                <c:pt idx="2">
                  <c:v>24.4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3</a:t>
                    </a:r>
                  </a:p>
                  <a:p>
                    <a:r>
                      <a:t>31.5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4.9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7.66</c:v>
                </c:pt>
                <c:pt idx="2">
                  <c:v>38.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5.3978"/>
          <c:min val="13.41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6.34</c:v>
                </c:pt>
                <c:pt idx="1">
                  <c:v>14.06</c:v>
                </c:pt>
                <c:pt idx="2">
                  <c:v>23.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89.8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2">
                  <c:v>15.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1">
                  <c:v>18.07</c:v>
                </c:pt>
                <c:pt idx="2">
                  <c:v>38.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3452"/>
          <c:min val="13.55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6.41</c:v>
                </c:pt>
                <c:pt idx="1">
                  <c:v>14.06</c:v>
                </c:pt>
                <c:pt idx="2">
                  <c:v>23.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6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1.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2">
                  <c:v>15.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1">
                  <c:v>18.0</c:v>
                </c:pt>
                <c:pt idx="2">
                  <c:v>38.7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6675"/>
          <c:min val="13.55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6.2</c:v>
                </c:pt>
                <c:pt idx="1">
                  <c:v>14.34</c:v>
                </c:pt>
                <c:pt idx="2">
                  <c:v>22.0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7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1.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2">
                  <c:v>15.2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1">
                  <c:v>17.92</c:v>
                </c:pt>
                <c:pt idx="2">
                  <c:v>38.8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8436"/>
          <c:min val="13.83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5.45</c:v>
                </c:pt>
                <c:pt idx="1">
                  <c:v>14.13</c:v>
                </c:pt>
                <c:pt idx="2">
                  <c:v>21.3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8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0.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2">
                  <c:v>15.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1">
                  <c:v>17.99</c:v>
                </c:pt>
                <c:pt idx="2">
                  <c:v>38.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7637"/>
          <c:min val="13.62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9</c:v>
                </c:pt>
                <c:pt idx="2">
                  <c:v/>
                </c:pt>
              </c:strCache>
            </c:strRef>
          </c:cat>
          <c:val>
            <c:numRef>
              <c:f>Sheet1!$B$2:$B$4</c:f>
              <c:numCache>
                <c:formatCode>General</c:formatCode>
                <c:ptCount val="3"/>
                <c:pt idx="0">
                  <c:v>5.18</c:v>
                </c:pt>
                <c:pt idx="1">
                  <c:v>28.0</c:v>
                </c:pt>
                <c:pt idx="2">
                  <c:v>5.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9</a:t>
                    </a:r>
                  </a:p>
                  <a:p>
                    <a:r>
                      <a:t>32.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9</c:v>
                </c:pt>
                <c:pt idx="2">
                  <c:v/>
                </c:pt>
              </c:strCache>
            </c:strRef>
          </c:cat>
          <c:val>
            <c:numRef>
              <c:f>Sheet1!$C$2:$C$4</c:f>
              <c:numCache>
                <c:formatCode>General</c:formatCode>
                <c:ptCount val="3"/>
                <c:pt idx="1">
                  <c:v>3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9</c:v>
                </c:pt>
                <c:pt idx="2">
                  <c:v/>
                </c:pt>
              </c:strCache>
            </c:strRef>
          </c:cat>
          <c:val>
            <c:numRef>
              <c:f>Sheet1!$D$2:$D$4</c:f>
              <c:numCache>
                <c:formatCode>General</c:formatCode>
                <c:ptCount val="3"/>
                <c:pt idx="0">
                  <c:v>5.73</c:v>
                </c:pt>
                <c:pt idx="2">
                  <c:v>3.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fgv</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9</c:v>
                </c:pt>
                <c:pt idx="2">
                  <c:v/>
                </c:pt>
              </c:strCache>
            </c:strRef>
          </c:cat>
          <c:val>
            <c:numRef>
              <c:f>Sheet1!$E$2:$E$4</c:f>
              <c:numCache>
                <c:formatCode>General</c:formatCode>
                <c:ptCount val="3"/>
                <c:pt idx="0">
                  <c:v>2.1</c:v>
                </c:pt>
                <c:pt idx="1">
                  <c:v>29.4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ardin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9</c:v>
                </c:pt>
                <c:pt idx="2">
                  <c:v/>
                </c:pt>
              </c:strCache>
            </c:strRef>
          </c:cat>
          <c:val>
            <c:numRef>
              <c:f>Sheet1!$F$2:$F$4</c:f>
              <c:numCache>
                <c:formatCode>General</c:formatCode>
                <c:ptCount val="3"/>
                <c:pt idx="2">
                  <c:v>4.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5958"/>
          <c:min val="1.602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3.41</c:v>
                </c:pt>
                <c:pt idx="1">
                  <c:v>14.72</c:v>
                </c:pt>
                <c:pt idx="2">
                  <c:v>23.1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0</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6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9.08</c:v>
                </c:pt>
                <c:pt idx="2">
                  <c:v>38.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9.705"/>
          <c:min val="14.21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81</c:v>
                </c:pt>
                <c:pt idx="1">
                  <c:v>14.78</c:v>
                </c:pt>
                <c:pt idx="2">
                  <c:v>2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2.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2.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6.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6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9.26</c:v>
                </c:pt>
                <c:pt idx="2">
                  <c:v>38.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2486"/>
          <c:min val="14.28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0.97</c:v>
                </c:pt>
                <c:pt idx="1">
                  <c:v>14.81</c:v>
                </c:pt>
                <c:pt idx="2">
                  <c:v>21.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0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0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8.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9.27</c:v>
                </c:pt>
                <c:pt idx="2">
                  <c:v>38.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9.1461"/>
          <c:min val="14.31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5.97</c:v>
                </c:pt>
                <c:pt idx="1">
                  <c:v>15.25</c:v>
                </c:pt>
                <c:pt idx="2">
                  <c:v>24.0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1.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9.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9.21</c:v>
                </c:pt>
                <c:pt idx="2">
                  <c:v>38.4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0696"/>
          <c:min val="14.74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5.72</c:v>
                </c:pt>
                <c:pt idx="1">
                  <c:v>14.08</c:v>
                </c:pt>
                <c:pt idx="2">
                  <c:v>21.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1.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1.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1.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2">
                  <c:v>15.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1">
                  <c:v>17.69</c:v>
                </c:pt>
                <c:pt idx="2">
                  <c:v>38.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1232"/>
          <c:min val="13.5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B$2:$B$4</c:f>
              <c:numCache>
                <c:formatCode>General</c:formatCode>
                <c:ptCount val="3"/>
                <c:pt idx="0">
                  <c:v>72.83</c:v>
                </c:pt>
                <c:pt idx="1">
                  <c:v>14.62</c:v>
                </c:pt>
                <c:pt idx="2">
                  <c:v>27.2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0</a:t>
                    </a:r>
                  </a:p>
                  <a:p>
                    <a:r>
                      <a:t>31.9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C$2:$C$4</c:f>
              <c:numCache>
                <c:formatCode>General</c:formatCode>
                <c:ptCount val="3"/>
                <c:pt idx="0">
                  <c:v>31.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D$2:$D$4</c:f>
              <c:numCache>
                <c:formatCode>General</c:formatCode>
                <c:ptCount val="3"/>
                <c:pt idx="0">
                  <c:v>105.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E$2:$E$4</c:f>
              <c:numCache>
                <c:formatCode>General</c:formatCode>
                <c:ptCount val="3"/>
                <c:pt idx="2">
                  <c:v>15.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F$2:$F$4</c:f>
              <c:numCache>
                <c:formatCode>General</c:formatCode>
                <c:ptCount val="3"/>
                <c:pt idx="1">
                  <c:v>18.71</c:v>
                </c:pt>
                <c:pt idx="2">
                  <c:v>38.3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6.3004"/>
          <c:min val="14.11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B$2:$B$4</c:f>
              <c:numCache>
                <c:formatCode>General</c:formatCode>
                <c:ptCount val="3"/>
                <c:pt idx="0">
                  <c:v>68.3</c:v>
                </c:pt>
                <c:pt idx="1">
                  <c:v>14.3</c:v>
                </c:pt>
                <c:pt idx="2">
                  <c:v>23.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31.9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C$2:$C$4</c:f>
              <c:numCache>
                <c:formatCode>General</c:formatCode>
                <c:ptCount val="3"/>
                <c:pt idx="0">
                  <c:v>31.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D$2:$D$4</c:f>
              <c:numCache>
                <c:formatCode>General</c:formatCode>
                <c:ptCount val="3"/>
                <c:pt idx="0">
                  <c:v>103.5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E$2:$E$4</c:f>
              <c:numCache>
                <c:formatCode>General</c:formatCode>
                <c:ptCount val="3"/>
                <c:pt idx="2">
                  <c:v>15.7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F$2:$F$4</c:f>
              <c:numCache>
                <c:formatCode>General</c:formatCode>
                <c:ptCount val="3"/>
                <c:pt idx="1">
                  <c:v>18.25</c:v>
                </c:pt>
                <c:pt idx="2">
                  <c:v>38.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0928"/>
          <c:min val="13.80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4.18</c:v>
                </c:pt>
                <c:pt idx="1">
                  <c:v>14.96</c:v>
                </c:pt>
                <c:pt idx="2">
                  <c:v>23.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9.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6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9.24</c:v>
                </c:pt>
                <c:pt idx="2">
                  <c:v>38.6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1449"/>
          <c:min val="14.45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B$2:$B$4</c:f>
              <c:numCache>
                <c:formatCode>General</c:formatCode>
                <c:ptCount val="3"/>
                <c:pt idx="0">
                  <c:v>66.32</c:v>
                </c:pt>
                <c:pt idx="1">
                  <c:v>14.58</c:v>
                </c:pt>
                <c:pt idx="2">
                  <c:v>23.9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31.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C$2:$C$4</c:f>
              <c:numCache>
                <c:formatCode>General</c:formatCode>
                <c:ptCount val="3"/>
                <c:pt idx="0">
                  <c:v>31.8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D$2:$D$4</c:f>
              <c:numCache>
                <c:formatCode>General</c:formatCode>
                <c:ptCount val="3"/>
                <c:pt idx="0">
                  <c:v>103.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E$2:$E$4</c:f>
              <c:numCache>
                <c:formatCode>General</c:formatCode>
                <c:ptCount val="3"/>
                <c:pt idx="2">
                  <c:v>15.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F$2:$F$4</c:f>
              <c:numCache>
                <c:formatCode>General</c:formatCode>
                <c:ptCount val="3"/>
                <c:pt idx="1">
                  <c:v>19.05</c:v>
                </c:pt>
                <c:pt idx="2">
                  <c:v>3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3.8139"/>
          <c:min val="14.08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3.97</c:v>
                </c:pt>
                <c:pt idx="1">
                  <c:v>14.14</c:v>
                </c:pt>
                <c:pt idx="2">
                  <c:v>23.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100.9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7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9.06</c:v>
                </c:pt>
                <c:pt idx="2">
                  <c:v>38.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1.4332"/>
          <c:min val="13.63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58.02</c:v>
                </c:pt>
                <c:pt idx="1">
                  <c:v>13.78</c:v>
                </c:pt>
                <c:pt idx="2">
                  <c:v>20.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1.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1.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7.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7.41</c:v>
                </c:pt>
                <c:pt idx="2">
                  <c:v>36.5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5438"/>
          <c:min val="13.27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B$2:$B$4</c:f>
              <c:numCache>
                <c:formatCode>General</c:formatCode>
                <c:ptCount val="3"/>
                <c:pt idx="0">
                  <c:v>54.99</c:v>
                </c:pt>
                <c:pt idx="1">
                  <c:v>15.48</c:v>
                </c:pt>
                <c:pt idx="2">
                  <c:v>21.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31.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C$2:$C$4</c:f>
              <c:numCache>
                <c:formatCode>General</c:formatCode>
                <c:ptCount val="3"/>
                <c:pt idx="0">
                  <c:v>31.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r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D$2:$D$4</c:f>
              <c:numCache>
                <c:formatCode>General</c:formatCode>
                <c:ptCount val="3"/>
                <c:pt idx="1">
                  <c:v>24.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E$2:$E$4</c:f>
              <c:numCache>
                <c:formatCode>General</c:formatCode>
                <c:ptCount val="3"/>
                <c:pt idx="2">
                  <c:v>16.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F$2:$F$4</c:f>
              <c:numCache>
                <c:formatCode>General</c:formatCode>
                <c:ptCount val="3"/>
                <c:pt idx="1">
                  <c:v>18.2</c:v>
                </c:pt>
                <c:pt idx="2">
                  <c:v>35.3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5.4875"/>
          <c:min val="14.97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B$2:$B$4</c:f>
              <c:numCache>
                <c:formatCode>General</c:formatCode>
                <c:ptCount val="3"/>
                <c:pt idx="0">
                  <c:v>69.12</c:v>
                </c:pt>
                <c:pt idx="1">
                  <c:v>14.81</c:v>
                </c:pt>
                <c:pt idx="2">
                  <c:v>24.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0</a:t>
                    </a:r>
                  </a:p>
                  <a:p>
                    <a:r>
                      <a:t>32.0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C$2:$C$4</c:f>
              <c:numCache>
                <c:formatCode>General</c:formatCode>
                <c:ptCount val="3"/>
                <c:pt idx="0">
                  <c:v>32.0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D$2:$D$4</c:f>
              <c:numCache>
                <c:formatCode>General</c:formatCode>
                <c:ptCount val="3"/>
                <c:pt idx="0">
                  <c:v>10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E$2:$E$4</c:f>
              <c:numCache>
                <c:formatCode>General</c:formatCode>
                <c:ptCount val="3"/>
                <c:pt idx="2">
                  <c:v>15.5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F$2:$F$4</c:f>
              <c:numCache>
                <c:formatCode>General</c:formatCode>
                <c:ptCount val="3"/>
                <c:pt idx="1">
                  <c:v>19.27</c:v>
                </c:pt>
                <c:pt idx="2">
                  <c:v>3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887"/>
          <c:min val="14.30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98</c:v>
                </c:pt>
                <c:pt idx="1">
                  <c:v>14.72</c:v>
                </c:pt>
                <c:pt idx="2">
                  <c:v>2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1.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6.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5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9.37</c:v>
                </c:pt>
                <c:pt idx="2">
                  <c:v>38.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6.7404"/>
          <c:min val="14.215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96</c:v>
                </c:pt>
                <c:pt idx="1">
                  <c:v>14.8</c:v>
                </c:pt>
                <c:pt idx="2">
                  <c:v>23.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1.9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7.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6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9.21</c:v>
                </c:pt>
                <c:pt idx="2">
                  <c:v>38.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3736"/>
          <c:min val="14.30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9.99</c:v>
                </c:pt>
                <c:pt idx="1">
                  <c:v>14.47</c:v>
                </c:pt>
                <c:pt idx="2">
                  <c:v>24.0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1.4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1.4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3.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2">
                  <c:v>15.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1">
                  <c:v>17.91</c:v>
                </c:pt>
                <c:pt idx="2">
                  <c:v>38.7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746"/>
          <c:min val="13.96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8</c:v>
                </c:pt>
                <c:pt idx="1">
                  <c:v>15.0</c:v>
                </c:pt>
                <c:pt idx="2">
                  <c:v>22.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2.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2.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6.7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9.2</c:v>
                </c:pt>
                <c:pt idx="2">
                  <c:v>38.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287"/>
          <c:min val="14.49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60.36</c:v>
                </c:pt>
                <c:pt idx="1">
                  <c:v>14.67</c:v>
                </c:pt>
                <c:pt idx="2">
                  <c:v>21.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4</a:t>
                    </a:r>
                  </a:p>
                  <a:p>
                    <a:r>
                      <a:t>32.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2.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5.7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2">
                  <c:v>15.7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1">
                  <c:v>19.24</c:v>
                </c:pt>
                <c:pt idx="2">
                  <c:v>38.5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6.2766"/>
          <c:min val="14.16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B$2:$B$4</c:f>
              <c:numCache>
                <c:formatCode>General</c:formatCode>
                <c:ptCount val="3"/>
                <c:pt idx="0">
                  <c:v>5.18</c:v>
                </c:pt>
                <c:pt idx="1">
                  <c:v>28.0</c:v>
                </c:pt>
                <c:pt idx="2">
                  <c:v>5.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32.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C$2:$C$4</c:f>
              <c:numCache>
                <c:formatCode>General</c:formatCode>
                <c:ptCount val="3"/>
                <c:pt idx="1">
                  <c:v>32.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D$2:$D$4</c:f>
              <c:numCache>
                <c:formatCode>General</c:formatCode>
                <c:ptCount val="3"/>
                <c:pt idx="0">
                  <c:v>5.73</c:v>
                </c:pt>
                <c:pt idx="2">
                  <c:v>3.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estilla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E$2:$E$4</c:f>
              <c:numCache>
                <c:formatCode>General</c:formatCode>
                <c:ptCount val="3"/>
                <c:pt idx="2">
                  <c:v>4.8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Artig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F$2:$F$4</c:f>
              <c:numCache>
                <c:formatCode>General</c:formatCode>
                <c:ptCount val="3"/>
                <c:pt idx="2">
                  <c:v>4.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6996"/>
          <c:min val="3.45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3.41</c:v>
                </c:pt>
                <c:pt idx="1">
                  <c:v>14.72</c:v>
                </c:pt>
                <c:pt idx="2">
                  <c:v>23.1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9.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6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9.08</c:v>
                </c:pt>
                <c:pt idx="2">
                  <c:v>38.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1379"/>
          <c:min val="14.21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81</c:v>
                </c:pt>
                <c:pt idx="1">
                  <c:v>14.78</c:v>
                </c:pt>
                <c:pt idx="2">
                  <c:v>2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2.2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2.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7.2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6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9.26</c:v>
                </c:pt>
                <c:pt idx="2">
                  <c:v>38.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7263"/>
          <c:min val="14.28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0.97</c:v>
                </c:pt>
                <c:pt idx="1">
                  <c:v>14.81</c:v>
                </c:pt>
                <c:pt idx="2">
                  <c:v>21.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9.7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6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9.27</c:v>
                </c:pt>
                <c:pt idx="2">
                  <c:v>38.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2589"/>
          <c:min val="14.31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5.97</c:v>
                </c:pt>
                <c:pt idx="1">
                  <c:v>15.25</c:v>
                </c:pt>
                <c:pt idx="2">
                  <c:v>24.0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100.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9.21</c:v>
                </c:pt>
                <c:pt idx="2">
                  <c:v>38.4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9505"/>
          <c:min val="14.74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B$2:$B$4</c:f>
              <c:numCache>
                <c:formatCode>General</c:formatCode>
                <c:ptCount val="3"/>
                <c:pt idx="0">
                  <c:v>72.83</c:v>
                </c:pt>
                <c:pt idx="1">
                  <c:v>14.62</c:v>
                </c:pt>
                <c:pt idx="2">
                  <c:v>27.2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0</a:t>
                    </a:r>
                  </a:p>
                  <a:p>
                    <a:r>
                      <a:t>32.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C$2:$C$4</c:f>
              <c:numCache>
                <c:formatCode>General</c:formatCode>
                <c:ptCount val="3"/>
                <c:pt idx="0">
                  <c:v>32.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D$2:$D$4</c:f>
              <c:numCache>
                <c:formatCode>General</c:formatCode>
                <c:ptCount val="3"/>
                <c:pt idx="0">
                  <c:v>105.4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E$2:$E$4</c:f>
              <c:numCache>
                <c:formatCode>General</c:formatCode>
                <c:ptCount val="3"/>
                <c:pt idx="2">
                  <c:v>15.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F$2:$F$4</c:f>
              <c:numCache>
                <c:formatCode>General</c:formatCode>
                <c:ptCount val="3"/>
                <c:pt idx="1">
                  <c:v>18.71</c:v>
                </c:pt>
                <c:pt idx="2">
                  <c:v>38.3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9177"/>
          <c:min val="14.11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B$2:$B$4</c:f>
              <c:numCache>
                <c:formatCode>General</c:formatCode>
                <c:ptCount val="3"/>
                <c:pt idx="0">
                  <c:v>68.3</c:v>
                </c:pt>
                <c:pt idx="1">
                  <c:v>14.3</c:v>
                </c:pt>
                <c:pt idx="2">
                  <c:v>23.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32.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C$2:$C$4</c:f>
              <c:numCache>
                <c:formatCode>General</c:formatCode>
                <c:ptCount val="3"/>
                <c:pt idx="0">
                  <c:v>32.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D$2:$D$4</c:f>
              <c:numCache>
                <c:formatCode>General</c:formatCode>
                <c:ptCount val="3"/>
                <c:pt idx="0">
                  <c:v>10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E$2:$E$4</c:f>
              <c:numCache>
                <c:formatCode>General</c:formatCode>
                <c:ptCount val="3"/>
                <c:pt idx="2">
                  <c:v>15.7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F$2:$F$4</c:f>
              <c:numCache>
                <c:formatCode>General</c:formatCode>
                <c:ptCount val="3"/>
                <c:pt idx="1">
                  <c:v>18.25</c:v>
                </c:pt>
                <c:pt idx="2">
                  <c:v>38.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2068"/>
          <c:min val="13.80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4.18</c:v>
                </c:pt>
                <c:pt idx="1">
                  <c:v>14.96</c:v>
                </c:pt>
                <c:pt idx="2">
                  <c:v>23.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2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100.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6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9.24</c:v>
                </c:pt>
                <c:pt idx="2">
                  <c:v>38.6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5401"/>
          <c:min val="14.45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4.91</c:v>
                </c:pt>
                <c:pt idx="1">
                  <c:v>14.26</c:v>
                </c:pt>
                <c:pt idx="2">
                  <c:v>27.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2</a:t>
                    </a:r>
                  </a:p>
                  <a:p>
                    <a:r>
                      <a:t>31.6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1.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2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7.74</c:v>
                </c:pt>
                <c:pt idx="2">
                  <c:v>38.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5407"/>
          <c:min val="13.75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B$2:$B$4</c:f>
              <c:numCache>
                <c:formatCode>General</c:formatCode>
                <c:ptCount val="3"/>
                <c:pt idx="0">
                  <c:v>66.32</c:v>
                </c:pt>
                <c:pt idx="1">
                  <c:v>14.58</c:v>
                </c:pt>
                <c:pt idx="2">
                  <c:v>23.9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31.9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C$2:$C$4</c:f>
              <c:numCache>
                <c:formatCode>General</c:formatCode>
                <c:ptCount val="3"/>
                <c:pt idx="0">
                  <c:v>31.9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D$2:$D$4</c:f>
              <c:numCache>
                <c:formatCode>General</c:formatCode>
                <c:ptCount val="3"/>
                <c:pt idx="0">
                  <c:v>102.5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E$2:$E$4</c:f>
              <c:numCache>
                <c:formatCode>General</c:formatCode>
                <c:ptCount val="3"/>
                <c:pt idx="2">
                  <c:v>15.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F$2:$F$4</c:f>
              <c:numCache>
                <c:formatCode>General</c:formatCode>
                <c:ptCount val="3"/>
                <c:pt idx="1">
                  <c:v>19.05</c:v>
                </c:pt>
                <c:pt idx="2">
                  <c:v>3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3.0514"/>
          <c:min val="14.08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3.97</c:v>
                </c:pt>
                <c:pt idx="1">
                  <c:v>14.14</c:v>
                </c:pt>
                <c:pt idx="2">
                  <c:v>23.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2.8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2.8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9.7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7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9.06</c:v>
                </c:pt>
                <c:pt idx="2">
                  <c:v>38.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2943"/>
          <c:min val="13.63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58.02</c:v>
                </c:pt>
                <c:pt idx="1">
                  <c:v>13.78</c:v>
                </c:pt>
                <c:pt idx="2">
                  <c:v>20.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1.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1.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6.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7.41</c:v>
                </c:pt>
                <c:pt idx="2">
                  <c:v>36.5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0749"/>
          <c:min val="13.27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B$2:$B$4</c:f>
              <c:numCache>
                <c:formatCode>General</c:formatCode>
                <c:ptCount val="3"/>
                <c:pt idx="0">
                  <c:v>54.99</c:v>
                </c:pt>
                <c:pt idx="1">
                  <c:v>15.48</c:v>
                </c:pt>
                <c:pt idx="2">
                  <c:v>21.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31.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C$2:$C$4</c:f>
              <c:numCache>
                <c:formatCode>General</c:formatCode>
                <c:ptCount val="3"/>
                <c:pt idx="0">
                  <c:v>31.3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ur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D$2:$D$4</c:f>
              <c:numCache>
                <c:formatCode>General</c:formatCode>
                <c:ptCount val="3"/>
                <c:pt idx="1">
                  <c:v>24.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E$2:$E$4</c:f>
              <c:numCache>
                <c:formatCode>General</c:formatCode>
                <c:ptCount val="3"/>
                <c:pt idx="2">
                  <c:v>16.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F$2:$F$4</c:f>
              <c:numCache>
                <c:formatCode>General</c:formatCode>
                <c:ptCount val="3"/>
                <c:pt idx="1">
                  <c:v>18.2</c:v>
                </c:pt>
                <c:pt idx="2">
                  <c:v>35.3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5.4875"/>
          <c:min val="14.97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B$2:$B$4</c:f>
              <c:numCache>
                <c:formatCode>General</c:formatCode>
                <c:ptCount val="3"/>
                <c:pt idx="0">
                  <c:v>69.12</c:v>
                </c:pt>
                <c:pt idx="1">
                  <c:v>14.81</c:v>
                </c:pt>
                <c:pt idx="2">
                  <c:v>24.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32.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C$2:$C$4</c:f>
              <c:numCache>
                <c:formatCode>General</c:formatCode>
                <c:ptCount val="3"/>
                <c:pt idx="0">
                  <c:v>32.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D$2:$D$4</c:f>
              <c:numCache>
                <c:formatCode>General</c:formatCode>
                <c:ptCount val="3"/>
                <c:pt idx="0">
                  <c:v>102.3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E$2:$E$4</c:f>
              <c:numCache>
                <c:formatCode>General</c:formatCode>
                <c:ptCount val="3"/>
                <c:pt idx="2">
                  <c:v>15.5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F$2:$F$4</c:f>
              <c:numCache>
                <c:formatCode>General</c:formatCode>
                <c:ptCount val="3"/>
                <c:pt idx="1">
                  <c:v>19.27</c:v>
                </c:pt>
                <c:pt idx="2">
                  <c:v>3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8571"/>
          <c:min val="14.30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98</c:v>
                </c:pt>
                <c:pt idx="1">
                  <c:v>14.72</c:v>
                </c:pt>
                <c:pt idx="2">
                  <c:v>2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1.9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9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7.5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5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9.37</c:v>
                </c:pt>
                <c:pt idx="2">
                  <c:v>38.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0243"/>
          <c:min val="14.215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1.96</c:v>
                </c:pt>
                <c:pt idx="1">
                  <c:v>14.8</c:v>
                </c:pt>
                <c:pt idx="2">
                  <c:v>23.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9.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2">
                  <c:v>15.6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1">
                  <c:v>19.21</c:v>
                </c:pt>
                <c:pt idx="2">
                  <c:v>38.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9.8856"/>
          <c:min val="14.30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8</c:v>
                </c:pt>
                <c:pt idx="1">
                  <c:v>15.0</c:v>
                </c:pt>
                <c:pt idx="2">
                  <c:v>22.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2.1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2.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8.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9.2</c:v>
                </c:pt>
                <c:pt idx="2">
                  <c:v>38.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9.1353"/>
          <c:min val="14.49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0.36</c:v>
                </c:pt>
                <c:pt idx="1">
                  <c:v>14.67</c:v>
                </c:pt>
                <c:pt idx="2">
                  <c:v>21.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2.3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2.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8.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7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9.24</c:v>
                </c:pt>
                <c:pt idx="2">
                  <c:v>38.5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5361"/>
          <c:min val="14.16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1</c:v>
                </c:pt>
                <c:pt idx="1">
                  <c:v>IX 46</c:v>
                </c:pt>
                <c:pt idx="2">
                  <c:v>IX 41</c:v>
                </c:pt>
                <c:pt idx="3">
                  <c:v/>
                </c:pt>
                <c:pt idx="4">
                  <c:v>IX 111</c:v>
                </c:pt>
                <c:pt idx="5">
                  <c:v/>
                </c:pt>
              </c:strCache>
            </c:strRef>
          </c:cat>
          <c:val>
            <c:numRef>
              <c:f>Sheet1!$B$2:$B$7</c:f>
              <c:numCache>
                <c:formatCode>General</c:formatCode>
                <c:ptCount val="6"/>
                <c:pt idx="0">
                  <c:v>26.36</c:v>
                </c:pt>
                <c:pt idx="1">
                  <c:v>41.98</c:v>
                </c:pt>
                <c:pt idx="2">
                  <c:v>67.49</c:v>
                </c:pt>
                <c:pt idx="3">
                  <c:v>42.13</c:v>
                </c:pt>
                <c:pt idx="4">
                  <c:v>39.94</c:v>
                </c:pt>
                <c:pt idx="5">
                  <c:v>176.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29.53</a:t>
                    </a:r>
                  </a:p>
                </c:rich>
              </c:tx>
              <c:dLblPos val="l"/>
              <c:showLegendKey val="0"/>
              <c:showVal val="1"/>
              <c:showCatName val="0"/>
              <c:showSerName val="0"/>
              <c:showPercent val="0"/>
              <c:showBubbleSize val="0"/>
            </c:dLbl>
            <c:dLbl>
              <c:idx val="1"/>
              <c:tx>
                <c:rich>
                  <a:bodyPr/>
                  <a:lstStyle/>
                  <a:p>
                    <a:r>
                      <a:t>IX 46</a:t>
                    </a:r>
                  </a:p>
                  <a:p>
                    <a:r>
                      <a:t>37.99</a:t>
                    </a:r>
                  </a:p>
                </c:rich>
              </c:tx>
              <c:dLblPos val="l"/>
              <c:showLegendKey val="0"/>
              <c:showVal val="1"/>
              <c:showCatName val="0"/>
              <c:showSerName val="0"/>
              <c:showPercent val="0"/>
              <c:showBubbleSize val="0"/>
            </c:dLbl>
            <c:dLbl>
              <c:idx val="2"/>
              <c:tx>
                <c:rich>
                  <a:bodyPr/>
                  <a:lstStyle/>
                  <a:p>
                    <a:r>
                      <a:t>IX 41</a:t>
                    </a:r>
                  </a:p>
                  <a:p>
                    <a:r>
                      <a:t>53.2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1</a:t>
                    </a:r>
                  </a:p>
                  <a:p>
                    <a:r>
                      <a:t>43.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1</c:v>
                </c:pt>
                <c:pt idx="1">
                  <c:v>IX 46</c:v>
                </c:pt>
                <c:pt idx="2">
                  <c:v>IX 41</c:v>
                </c:pt>
                <c:pt idx="3">
                  <c:v/>
                </c:pt>
                <c:pt idx="4">
                  <c:v>IX 111</c:v>
                </c:pt>
                <c:pt idx="5">
                  <c:v/>
                </c:pt>
              </c:strCache>
            </c:strRef>
          </c:cat>
          <c:val>
            <c:numRef>
              <c:f>Sheet1!$C$2:$C$7</c:f>
              <c:numCache>
                <c:formatCode>General</c:formatCode>
                <c:ptCount val="6"/>
                <c:pt idx="0">
                  <c:v>29.53</c:v>
                </c:pt>
                <c:pt idx="1">
                  <c:v>37.99</c:v>
                </c:pt>
                <c:pt idx="2">
                  <c:v>53.27</c:v>
                </c:pt>
                <c:pt idx="4">
                  <c:v>4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1</c:v>
                </c:pt>
                <c:pt idx="1">
                  <c:v>IX 46</c:v>
                </c:pt>
                <c:pt idx="2">
                  <c:v>IX 41</c:v>
                </c:pt>
                <c:pt idx="3">
                  <c:v/>
                </c:pt>
                <c:pt idx="4">
                  <c:v>IX 111</c:v>
                </c:pt>
                <c:pt idx="5">
                  <c:v/>
                </c:pt>
              </c:strCache>
            </c:strRef>
          </c:cat>
          <c:val>
            <c:numRef>
              <c:f>Sheet1!$D$2:$D$7</c:f>
              <c:numCache>
                <c:formatCode>General</c:formatCode>
                <c:ptCount val="6"/>
                <c:pt idx="0">
                  <c:v>57.77</c:v>
                </c:pt>
                <c:pt idx="1">
                  <c:v>83.11</c:v>
                </c:pt>
                <c:pt idx="2">
                  <c:v>128.9</c:v>
                </c:pt>
                <c:pt idx="3">
                  <c:v>57.65</c:v>
                </c:pt>
                <c:pt idx="5">
                  <c:v>244.5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mp;C Sas Fra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1</c:v>
                </c:pt>
                <c:pt idx="1">
                  <c:v>IX 46</c:v>
                </c:pt>
                <c:pt idx="2">
                  <c:v>IX 41</c:v>
                </c:pt>
                <c:pt idx="3">
                  <c:v/>
                </c:pt>
                <c:pt idx="4">
                  <c:v>IX 111</c:v>
                </c:pt>
                <c:pt idx="5">
                  <c:v/>
                </c:pt>
              </c:strCache>
            </c:strRef>
          </c:cat>
          <c:val>
            <c:numRef>
              <c:f>Sheet1!$E$2:$E$7</c:f>
              <c:numCache>
                <c:formatCode>General</c:formatCode>
                <c:ptCount val="6"/>
                <c:pt idx="0">
                  <c:v>32.21</c:v>
                </c:pt>
                <c:pt idx="1">
                  <c:v>38.12</c:v>
                </c:pt>
                <c:pt idx="2">
                  <c:v>40.96</c:v>
                </c:pt>
                <c:pt idx="3">
                  <c:v>40.19</c:v>
                </c:pt>
                <c:pt idx="5">
                  <c:v>179.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1</c:v>
                </c:pt>
                <c:pt idx="1">
                  <c:v>IX 46</c:v>
                </c:pt>
                <c:pt idx="2">
                  <c:v>IX 41</c:v>
                </c:pt>
                <c:pt idx="3">
                  <c:v/>
                </c:pt>
                <c:pt idx="4">
                  <c:v>IX 111</c:v>
                </c:pt>
                <c:pt idx="5">
                  <c:v/>
                </c:pt>
              </c:strCache>
            </c:strRef>
          </c:cat>
          <c:val>
            <c:numRef>
              <c:f>Sheet1!$F$2:$F$7</c:f>
              <c:numCache>
                <c:formatCode>General</c:formatCode>
                <c:ptCount val="6"/>
                <c:pt idx="0">
                  <c:v>29.57</c:v>
                </c:pt>
                <c:pt idx="1">
                  <c:v>33.57</c:v>
                </c:pt>
                <c:pt idx="2">
                  <c:v>47.04</c:v>
                </c:pt>
                <c:pt idx="3">
                  <c:v>29.0</c:v>
                </c:pt>
                <c:pt idx="4">
                  <c:v>39.42</c:v>
                </c:pt>
                <c:pt idx="5">
                  <c:v>49.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5.0356"/>
          <c:min val="25.86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2.51</c:v>
                </c:pt>
                <c:pt idx="1">
                  <c:v>13.75</c:v>
                </c:pt>
                <c:pt idx="2">
                  <c:v>2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3</a:t>
                    </a:r>
                  </a:p>
                  <a:p>
                    <a:r>
                      <a:t>31.5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7.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7.81</c:v>
                </c:pt>
                <c:pt idx="2">
                  <c:v>39.3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5399"/>
          <c:min val="13.25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09</c:v>
                </c:pt>
                <c:pt idx="4">
                  <c:v/>
                </c:pt>
                <c:pt idx="5">
                  <c:v/>
                </c:pt>
              </c:strCache>
            </c:strRef>
          </c:cat>
          <c:val>
            <c:numRef>
              <c:f>Sheet1!$B$2:$B$7</c:f>
              <c:numCache>
                <c:formatCode>General</c:formatCode>
                <c:ptCount val="6"/>
                <c:pt idx="0">
                  <c:v>52.47</c:v>
                </c:pt>
                <c:pt idx="1">
                  <c:v>97.59</c:v>
                </c:pt>
                <c:pt idx="2">
                  <c:v>75.73</c:v>
                </c:pt>
                <c:pt idx="3">
                  <c:v>39.99</c:v>
                </c:pt>
                <c:pt idx="4">
                  <c:v>180.04</c:v>
                </c:pt>
                <c:pt idx="5">
                  <c:v>44.3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54</a:t>
                    </a:r>
                  </a:p>
                </c:rich>
              </c:tx>
              <c:dLblPos val="l"/>
              <c:showLegendKey val="0"/>
              <c:showVal val="1"/>
              <c:showCatName val="0"/>
              <c:showSerName val="0"/>
              <c:showPercent val="0"/>
              <c:showBubbleSize val="0"/>
            </c:dLbl>
            <c:dLbl>
              <c:idx val="1"/>
              <c:tx>
                <c:rich>
                  <a:bodyPr/>
                  <a:lstStyle/>
                  <a:p>
                    <a:r>
                      <a:t>IX 41</a:t>
                    </a:r>
                  </a:p>
                  <a:p>
                    <a:r>
                      <a:t>53.56</a:t>
                    </a:r>
                  </a:p>
                </c:rich>
              </c:tx>
              <c:dLblPos val="l"/>
              <c:showLegendKey val="0"/>
              <c:showVal val="1"/>
              <c:showCatName val="0"/>
              <c:showSerName val="0"/>
              <c:showPercent val="0"/>
              <c:showBubbleSize val="0"/>
            </c:dLbl>
            <c:dLbl>
              <c:idx val="2"/>
              <c:tx>
                <c:rich>
                  <a:bodyPr/>
                  <a:lstStyle/>
                  <a:p>
                    <a:r>
                      <a:t>IX 28</a:t>
                    </a:r>
                  </a:p>
                  <a:p>
                    <a:r>
                      <a:t>38.19</a:t>
                    </a:r>
                  </a:p>
                </c:rich>
              </c:tx>
              <c:dLblPos val="l"/>
              <c:showLegendKey val="0"/>
              <c:showVal val="1"/>
              <c:showCatName val="0"/>
              <c:showSerName val="0"/>
              <c:showPercent val="0"/>
              <c:showBubbleSize val="0"/>
            </c:dLbl>
            <c:dLbl>
              <c:idx val="3"/>
              <c:tx>
                <c:rich>
                  <a:bodyPr/>
                  <a:lstStyle/>
                  <a:p>
                    <a:r>
                      <a:t>IX 109</a:t>
                    </a:r>
                  </a:p>
                  <a:p>
                    <a:r>
                      <a:t>43.0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09</c:v>
                </c:pt>
                <c:pt idx="4">
                  <c:v/>
                </c:pt>
                <c:pt idx="5">
                  <c:v/>
                </c:pt>
              </c:strCache>
            </c:strRef>
          </c:cat>
          <c:val>
            <c:numRef>
              <c:f>Sheet1!$C$2:$C$7</c:f>
              <c:numCache>
                <c:formatCode>General</c:formatCode>
                <c:ptCount val="6"/>
                <c:pt idx="0">
                  <c:v>29.54</c:v>
                </c:pt>
                <c:pt idx="1">
                  <c:v>53.56</c:v>
                </c:pt>
                <c:pt idx="2">
                  <c:v>38.19</c:v>
                </c:pt>
                <c:pt idx="3">
                  <c:v>43.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09</c:v>
                </c:pt>
                <c:pt idx="4">
                  <c:v/>
                </c:pt>
                <c:pt idx="5">
                  <c:v/>
                </c:pt>
              </c:strCache>
            </c:strRef>
          </c:cat>
          <c:val>
            <c:numRef>
              <c:f>Sheet1!$D$2:$D$7</c:f>
              <c:numCache>
                <c:formatCode>General</c:formatCode>
                <c:ptCount val="6"/>
                <c:pt idx="0">
                  <c:v>74.0</c:v>
                </c:pt>
                <c:pt idx="1">
                  <c:v>130.54</c:v>
                </c:pt>
                <c:pt idx="2">
                  <c:v>134.82</c:v>
                </c:pt>
                <c:pt idx="4">
                  <c:v>255.76</c:v>
                </c:pt>
                <c:pt idx="5">
                  <c:v>58.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09</c:v>
                </c:pt>
                <c:pt idx="4">
                  <c:v/>
                </c:pt>
                <c:pt idx="5">
                  <c:v/>
                </c:pt>
              </c:strCache>
            </c:strRef>
          </c:cat>
          <c:val>
            <c:numRef>
              <c:f>Sheet1!$E$2:$E$7</c:f>
              <c:numCache>
                <c:formatCode>General</c:formatCode>
                <c:ptCount val="6"/>
                <c:pt idx="0">
                  <c:v>43.93</c:v>
                </c:pt>
                <c:pt idx="1">
                  <c:v>87.73</c:v>
                </c:pt>
                <c:pt idx="2">
                  <c:v>53.85</c:v>
                </c:pt>
                <c:pt idx="4">
                  <c:v>266.9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09</c:v>
                </c:pt>
                <c:pt idx="4">
                  <c:v/>
                </c:pt>
                <c:pt idx="5">
                  <c:v/>
                </c:pt>
              </c:strCache>
            </c:strRef>
          </c:cat>
          <c:val>
            <c:numRef>
              <c:f>Sheet1!$F$2:$F$7</c:f>
              <c:numCache>
                <c:formatCode>General</c:formatCode>
                <c:ptCount val="6"/>
                <c:pt idx="0">
                  <c:v>73.33</c:v>
                </c:pt>
                <c:pt idx="1">
                  <c:v>47.12</c:v>
                </c:pt>
                <c:pt idx="2">
                  <c:v>48.08</c:v>
                </c:pt>
                <c:pt idx="3">
                  <c:v>39.48</c:v>
                </c:pt>
                <c:pt idx="4">
                  <c:v>49.67</c:v>
                </c:pt>
                <c:pt idx="5">
                  <c:v>29.0</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7.4167"/>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7</c:v>
                </c:pt>
                <c:pt idx="3">
                  <c:v>IX 110</c:v>
                </c:pt>
                <c:pt idx="4">
                  <c:v/>
                </c:pt>
                <c:pt idx="5">
                  <c:v/>
                </c:pt>
              </c:strCache>
            </c:strRef>
          </c:cat>
          <c:val>
            <c:numRef>
              <c:f>Sheet1!$B$2:$B$7</c:f>
              <c:numCache>
                <c:formatCode>General</c:formatCode>
                <c:ptCount val="6"/>
                <c:pt idx="0">
                  <c:v>52.07</c:v>
                </c:pt>
                <c:pt idx="1">
                  <c:v>93.41</c:v>
                </c:pt>
                <c:pt idx="2">
                  <c:v>74.97</c:v>
                </c:pt>
                <c:pt idx="3">
                  <c:v>40.03</c:v>
                </c:pt>
                <c:pt idx="4">
                  <c:v>44.26</c:v>
                </c:pt>
                <c:pt idx="5">
                  <c:v>162.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64</a:t>
                    </a:r>
                  </a:p>
                </c:rich>
              </c:tx>
              <c:dLblPos val="l"/>
              <c:showLegendKey val="0"/>
              <c:showVal val="1"/>
              <c:showCatName val="0"/>
              <c:showSerName val="0"/>
              <c:showPercent val="0"/>
              <c:showBubbleSize val="0"/>
            </c:dLbl>
            <c:dLbl>
              <c:idx val="1"/>
              <c:tx>
                <c:rich>
                  <a:bodyPr/>
                  <a:lstStyle/>
                  <a:p>
                    <a:r>
                      <a:t>IX 41</a:t>
                    </a:r>
                  </a:p>
                  <a:p>
                    <a:r>
                      <a:t>53.37</a:t>
                    </a:r>
                  </a:p>
                </c:rich>
              </c:tx>
              <c:dLblPos val="l"/>
              <c:showLegendKey val="0"/>
              <c:showVal val="1"/>
              <c:showCatName val="0"/>
              <c:showSerName val="0"/>
              <c:showPercent val="0"/>
              <c:showBubbleSize val="0"/>
            </c:dLbl>
            <c:dLbl>
              <c:idx val="2"/>
              <c:tx>
                <c:rich>
                  <a:bodyPr/>
                  <a:lstStyle/>
                  <a:p>
                    <a:r>
                      <a:t>IX 27</a:t>
                    </a:r>
                  </a:p>
                  <a:p>
                    <a:r>
                      <a:t>38.45</a:t>
                    </a:r>
                  </a:p>
                </c:rich>
              </c:tx>
              <c:dLblPos val="l"/>
              <c:showLegendKey val="0"/>
              <c:showVal val="1"/>
              <c:showCatName val="0"/>
              <c:showSerName val="0"/>
              <c:showPercent val="0"/>
              <c:showBubbleSize val="0"/>
            </c:dLbl>
            <c:dLbl>
              <c:idx val="3"/>
              <c:tx>
                <c:rich>
                  <a:bodyPr/>
                  <a:lstStyle/>
                  <a:p>
                    <a:r>
                      <a:t>IX 110</a:t>
                    </a:r>
                  </a:p>
                  <a:p>
                    <a:r>
                      <a:t>43.5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7</c:v>
                </c:pt>
                <c:pt idx="3">
                  <c:v>IX 110</c:v>
                </c:pt>
                <c:pt idx="4">
                  <c:v/>
                </c:pt>
                <c:pt idx="5">
                  <c:v/>
                </c:pt>
              </c:strCache>
            </c:strRef>
          </c:cat>
          <c:val>
            <c:numRef>
              <c:f>Sheet1!$C$2:$C$7</c:f>
              <c:numCache>
                <c:formatCode>General</c:formatCode>
                <c:ptCount val="6"/>
                <c:pt idx="0">
                  <c:v>29.64</c:v>
                </c:pt>
                <c:pt idx="1">
                  <c:v>53.37</c:v>
                </c:pt>
                <c:pt idx="2">
                  <c:v>38.45</c:v>
                </c:pt>
                <c:pt idx="3">
                  <c:v>43.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7</c:v>
                </c:pt>
                <c:pt idx="3">
                  <c:v>IX 110</c:v>
                </c:pt>
                <c:pt idx="4">
                  <c:v/>
                </c:pt>
                <c:pt idx="5">
                  <c:v/>
                </c:pt>
              </c:strCache>
            </c:strRef>
          </c:cat>
          <c:val>
            <c:numRef>
              <c:f>Sheet1!$D$2:$D$7</c:f>
              <c:numCache>
                <c:formatCode>General</c:formatCode>
                <c:ptCount val="6"/>
                <c:pt idx="0">
                  <c:v>73.69</c:v>
                </c:pt>
                <c:pt idx="1">
                  <c:v>130.96</c:v>
                </c:pt>
                <c:pt idx="2">
                  <c:v>141.05</c:v>
                </c:pt>
                <c:pt idx="4">
                  <c:v>58.05</c:v>
                </c:pt>
                <c:pt idx="5">
                  <c:v>256.3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7</c:v>
                </c:pt>
                <c:pt idx="3">
                  <c:v>IX 110</c:v>
                </c:pt>
                <c:pt idx="4">
                  <c:v/>
                </c:pt>
                <c:pt idx="5">
                  <c:v/>
                </c:pt>
              </c:strCache>
            </c:strRef>
          </c:cat>
          <c:val>
            <c:numRef>
              <c:f>Sheet1!$E$2:$E$7</c:f>
              <c:numCache>
                <c:formatCode>General</c:formatCode>
                <c:ptCount val="6"/>
                <c:pt idx="0">
                  <c:v>43.48</c:v>
                </c:pt>
                <c:pt idx="1">
                  <c:v>83.75</c:v>
                </c:pt>
                <c:pt idx="2">
                  <c:v>53.72</c:v>
                </c:pt>
                <c:pt idx="5">
                  <c:v>257.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7</c:v>
                </c:pt>
                <c:pt idx="3">
                  <c:v>IX 110</c:v>
                </c:pt>
                <c:pt idx="4">
                  <c:v/>
                </c:pt>
                <c:pt idx="5">
                  <c:v/>
                </c:pt>
              </c:strCache>
            </c:strRef>
          </c:cat>
          <c:val>
            <c:numRef>
              <c:f>Sheet1!$F$2:$F$7</c:f>
              <c:numCache>
                <c:formatCode>General</c:formatCode>
                <c:ptCount val="6"/>
                <c:pt idx="1">
                  <c:v>47.09</c:v>
                </c:pt>
                <c:pt idx="2">
                  <c:v>47.96</c:v>
                </c:pt>
                <c:pt idx="3">
                  <c:v>39.55</c:v>
                </c:pt>
                <c:pt idx="4">
                  <c:v>29.0</c:v>
                </c:pt>
                <c:pt idx="5">
                  <c:v>49.3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8.3605"/>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9</c:v>
                </c:pt>
                <c:pt idx="4">
                  <c:v/>
                </c:pt>
                <c:pt idx="5">
                  <c:v/>
                </c:pt>
              </c:strCache>
            </c:strRef>
          </c:cat>
          <c:val>
            <c:numRef>
              <c:f>Sheet1!$B$2:$B$7</c:f>
              <c:numCache>
                <c:formatCode>General</c:formatCode>
                <c:ptCount val="6"/>
                <c:pt idx="0">
                  <c:v>50.81</c:v>
                </c:pt>
                <c:pt idx="1">
                  <c:v>89.92</c:v>
                </c:pt>
                <c:pt idx="2">
                  <c:v>69.42</c:v>
                </c:pt>
                <c:pt idx="3">
                  <c:v>39.74</c:v>
                </c:pt>
                <c:pt idx="4">
                  <c:v>165.1</c:v>
                </c:pt>
                <c:pt idx="5">
                  <c:v>43.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41</a:t>
                    </a:r>
                  </a:p>
                </c:rich>
              </c:tx>
              <c:dLblPos val="l"/>
              <c:showLegendKey val="0"/>
              <c:showVal val="1"/>
              <c:showCatName val="0"/>
              <c:showSerName val="0"/>
              <c:showPercent val="0"/>
              <c:showBubbleSize val="0"/>
            </c:dLbl>
            <c:dLbl>
              <c:idx val="1"/>
              <c:tx>
                <c:rich>
                  <a:bodyPr/>
                  <a:lstStyle/>
                  <a:p>
                    <a:r>
                      <a:t>IX 41</a:t>
                    </a:r>
                  </a:p>
                  <a:p>
                    <a:r>
                      <a:t>53.18</a:t>
                    </a:r>
                  </a:p>
                </c:rich>
              </c:tx>
              <c:dLblPos val="l"/>
              <c:showLegendKey val="0"/>
              <c:showVal val="1"/>
              <c:showCatName val="0"/>
              <c:showSerName val="0"/>
              <c:showPercent val="0"/>
              <c:showBubbleSize val="0"/>
            </c:dLbl>
            <c:dLbl>
              <c:idx val="2"/>
              <c:tx>
                <c:rich>
                  <a:bodyPr/>
                  <a:lstStyle/>
                  <a:p>
                    <a:r>
                      <a:t>IX 30</a:t>
                    </a:r>
                  </a:p>
                  <a:p>
                    <a:r>
                      <a:t>37.56</a:t>
                    </a:r>
                  </a:p>
                </c:rich>
              </c:tx>
              <c:dLblPos val="l"/>
              <c:showLegendKey val="0"/>
              <c:showVal val="1"/>
              <c:showCatName val="0"/>
              <c:showSerName val="0"/>
              <c:showPercent val="0"/>
              <c:showBubbleSize val="0"/>
            </c:dLbl>
            <c:dLbl>
              <c:idx val="3"/>
              <c:tx>
                <c:rich>
                  <a:bodyPr/>
                  <a:lstStyle/>
                  <a:p>
                    <a:r>
                      <a:t>IX 109</a:t>
                    </a:r>
                  </a:p>
                  <a:p>
                    <a:r>
                      <a:t>42.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9</c:v>
                </c:pt>
                <c:pt idx="4">
                  <c:v/>
                </c:pt>
                <c:pt idx="5">
                  <c:v/>
                </c:pt>
              </c:strCache>
            </c:strRef>
          </c:cat>
          <c:val>
            <c:numRef>
              <c:f>Sheet1!$C$2:$C$7</c:f>
              <c:numCache>
                <c:formatCode>General</c:formatCode>
                <c:ptCount val="6"/>
                <c:pt idx="0">
                  <c:v>29.41</c:v>
                </c:pt>
                <c:pt idx="1">
                  <c:v>53.18</c:v>
                </c:pt>
                <c:pt idx="2">
                  <c:v>37.56</c:v>
                </c:pt>
                <c:pt idx="3">
                  <c:v>42.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9</c:v>
                </c:pt>
                <c:pt idx="4">
                  <c:v/>
                </c:pt>
                <c:pt idx="5">
                  <c:v/>
                </c:pt>
              </c:strCache>
            </c:strRef>
          </c:cat>
          <c:val>
            <c:numRef>
              <c:f>Sheet1!$D$2:$D$7</c:f>
              <c:numCache>
                <c:formatCode>General</c:formatCode>
                <c:ptCount val="6"/>
                <c:pt idx="0">
                  <c:v>73.77</c:v>
                </c:pt>
                <c:pt idx="1">
                  <c:v>130.3</c:v>
                </c:pt>
                <c:pt idx="2">
                  <c:v>124.11</c:v>
                </c:pt>
                <c:pt idx="4">
                  <c:v>226.87</c:v>
                </c:pt>
                <c:pt idx="5">
                  <c:v>57.7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9</c:v>
                </c:pt>
                <c:pt idx="4">
                  <c:v/>
                </c:pt>
                <c:pt idx="5">
                  <c:v/>
                </c:pt>
              </c:strCache>
            </c:strRef>
          </c:cat>
          <c:val>
            <c:numRef>
              <c:f>Sheet1!$E$2:$E$7</c:f>
              <c:numCache>
                <c:formatCode>General</c:formatCode>
                <c:ptCount val="6"/>
                <c:pt idx="0">
                  <c:v>44.29</c:v>
                </c:pt>
                <c:pt idx="2">
                  <c:v>53.07</c:v>
                </c:pt>
                <c:pt idx="4">
                  <c:v>255.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9</c:v>
                </c:pt>
                <c:pt idx="4">
                  <c:v/>
                </c:pt>
                <c:pt idx="5">
                  <c:v/>
                </c:pt>
              </c:strCache>
            </c:strRef>
          </c:cat>
          <c:val>
            <c:numRef>
              <c:f>Sheet1!$F$2:$F$7</c:f>
              <c:numCache>
                <c:formatCode>General</c:formatCode>
                <c:ptCount val="6"/>
                <c:pt idx="0">
                  <c:v>73.33</c:v>
                </c:pt>
                <c:pt idx="1">
                  <c:v>46.86</c:v>
                </c:pt>
                <c:pt idx="2">
                  <c:v>48.27</c:v>
                </c:pt>
                <c:pt idx="3">
                  <c:v>39.21</c:v>
                </c:pt>
                <c:pt idx="4">
                  <c:v>49.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5.5"/>
          <c:min val="28.9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
                </c:pt>
                <c:pt idx="4">
                  <c:v>IX 109</c:v>
                </c:pt>
                <c:pt idx="5">
                  <c:v/>
                </c:pt>
              </c:strCache>
            </c:strRef>
          </c:cat>
          <c:val>
            <c:numRef>
              <c:f>Sheet1!$B$2:$B$7</c:f>
              <c:numCache>
                <c:formatCode>General</c:formatCode>
                <c:ptCount val="6"/>
                <c:pt idx="0">
                  <c:v>54.11</c:v>
                </c:pt>
                <c:pt idx="1">
                  <c:v>105.47</c:v>
                </c:pt>
                <c:pt idx="2">
                  <c:v>77.86</c:v>
                </c:pt>
                <c:pt idx="3">
                  <c:v>199.9</c:v>
                </c:pt>
                <c:pt idx="4">
                  <c:v>40.27</c:v>
                </c:pt>
                <c:pt idx="5">
                  <c:v>44.9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73</a:t>
                    </a:r>
                  </a:p>
                </c:rich>
              </c:tx>
              <c:dLblPos val="l"/>
              <c:showLegendKey val="0"/>
              <c:showVal val="1"/>
              <c:showCatName val="0"/>
              <c:showSerName val="0"/>
              <c:showPercent val="0"/>
              <c:showBubbleSize val="0"/>
            </c:dLbl>
            <c:dLbl>
              <c:idx val="1"/>
              <c:tx>
                <c:rich>
                  <a:bodyPr/>
                  <a:lstStyle/>
                  <a:p>
                    <a:r>
                      <a:t>IX 41</a:t>
                    </a:r>
                  </a:p>
                  <a:p>
                    <a:r>
                      <a:t>53.76</a:t>
                    </a:r>
                  </a:p>
                </c:rich>
              </c:tx>
              <c:dLblPos val="l"/>
              <c:showLegendKey val="0"/>
              <c:showVal val="1"/>
              <c:showCatName val="0"/>
              <c:showSerName val="0"/>
              <c:showPercent val="0"/>
              <c:showBubbleSize val="0"/>
            </c:dLbl>
            <c:dLbl>
              <c:idx val="2"/>
              <c:tx>
                <c:rich>
                  <a:bodyPr/>
                  <a:lstStyle/>
                  <a:p>
                    <a:r>
                      <a:t>IX 30</a:t>
                    </a:r>
                  </a:p>
                  <a:p>
                    <a:r>
                      <a:t>39.3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9</a:t>
                    </a:r>
                  </a:p>
                  <a:p>
                    <a:r>
                      <a:t>43.1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
                </c:pt>
                <c:pt idx="4">
                  <c:v>IX 109</c:v>
                </c:pt>
                <c:pt idx="5">
                  <c:v/>
                </c:pt>
              </c:strCache>
            </c:strRef>
          </c:cat>
          <c:val>
            <c:numRef>
              <c:f>Sheet1!$C$2:$C$7</c:f>
              <c:numCache>
                <c:formatCode>General</c:formatCode>
                <c:ptCount val="6"/>
                <c:pt idx="0">
                  <c:v>29.73</c:v>
                </c:pt>
                <c:pt idx="1">
                  <c:v>53.76</c:v>
                </c:pt>
                <c:pt idx="2">
                  <c:v>39.38</c:v>
                </c:pt>
                <c:pt idx="4">
                  <c:v>4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
                </c:pt>
                <c:pt idx="4">
                  <c:v>IX 109</c:v>
                </c:pt>
                <c:pt idx="5">
                  <c:v/>
                </c:pt>
              </c:strCache>
            </c:strRef>
          </c:cat>
          <c:val>
            <c:numRef>
              <c:f>Sheet1!$D$2:$D$7</c:f>
              <c:numCache>
                <c:formatCode>General</c:formatCode>
                <c:ptCount val="6"/>
                <c:pt idx="0">
                  <c:v>74.16</c:v>
                </c:pt>
                <c:pt idx="1">
                  <c:v>130.45</c:v>
                </c:pt>
                <c:pt idx="2">
                  <c:v>131.55</c:v>
                </c:pt>
                <c:pt idx="3">
                  <c:v>266.99</c:v>
                </c:pt>
                <c:pt idx="5">
                  <c:v>58.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
                </c:pt>
                <c:pt idx="4">
                  <c:v>IX 109</c:v>
                </c:pt>
                <c:pt idx="5">
                  <c:v/>
                </c:pt>
              </c:strCache>
            </c:strRef>
          </c:cat>
          <c:val>
            <c:numRef>
              <c:f>Sheet1!$E$2:$E$7</c:f>
              <c:numCache>
                <c:formatCode>General</c:formatCode>
                <c:ptCount val="6"/>
                <c:pt idx="0">
                  <c:v>45.03</c:v>
                </c:pt>
                <c:pt idx="1">
                  <c:v>103.0</c:v>
                </c:pt>
                <c:pt idx="2">
                  <c:v>55.83</c:v>
                </c:pt>
                <c:pt idx="3">
                  <c:v>300.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
                </c:pt>
                <c:pt idx="4">
                  <c:v>IX 109</c:v>
                </c:pt>
                <c:pt idx="5">
                  <c:v/>
                </c:pt>
              </c:strCache>
            </c:strRef>
          </c:cat>
          <c:val>
            <c:numRef>
              <c:f>Sheet1!$F$2:$F$7</c:f>
              <c:numCache>
                <c:formatCode>General</c:formatCode>
                <c:ptCount val="6"/>
                <c:pt idx="1">
                  <c:v>47.37</c:v>
                </c:pt>
                <c:pt idx="2">
                  <c:v>48.5</c:v>
                </c:pt>
                <c:pt idx="3">
                  <c:v>49.88</c:v>
                </c:pt>
                <c:pt idx="4">
                  <c:v>39.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625"/>
          <c:min val="29.23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26</c:v>
                </c:pt>
                <c:pt idx="3">
                  <c:v/>
                </c:pt>
                <c:pt idx="4">
                  <c:v/>
                </c:pt>
                <c:pt idx="5">
                  <c:v>IX 107</c:v>
                </c:pt>
              </c:strCache>
            </c:strRef>
          </c:cat>
          <c:val>
            <c:numRef>
              <c:f>Sheet1!$B$2:$B$7</c:f>
              <c:numCache>
                <c:formatCode>General</c:formatCode>
                <c:ptCount val="6"/>
                <c:pt idx="0">
                  <c:v>55.95</c:v>
                </c:pt>
                <c:pt idx="1">
                  <c:v>111.73</c:v>
                </c:pt>
                <c:pt idx="2">
                  <c:v>93.71</c:v>
                </c:pt>
                <c:pt idx="3">
                  <c:v>215.57</c:v>
                </c:pt>
                <c:pt idx="4">
                  <c:v>45.17</c:v>
                </c:pt>
                <c:pt idx="5">
                  <c:v>40.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52</a:t>
                    </a:r>
                  </a:p>
                </c:rich>
              </c:tx>
              <c:dLblPos val="l"/>
              <c:showLegendKey val="0"/>
              <c:showVal val="1"/>
              <c:showCatName val="0"/>
              <c:showSerName val="0"/>
              <c:showPercent val="0"/>
              <c:showBubbleSize val="0"/>
            </c:dLbl>
            <c:dLbl>
              <c:idx val="1"/>
              <c:tx>
                <c:rich>
                  <a:bodyPr/>
                  <a:lstStyle/>
                  <a:p>
                    <a:r>
                      <a:t>IX 42</a:t>
                    </a:r>
                  </a:p>
                  <a:p>
                    <a:r>
                      <a:t>54.28</a:t>
                    </a:r>
                  </a:p>
                </c:rich>
              </c:tx>
              <c:dLblPos val="l"/>
              <c:showLegendKey val="0"/>
              <c:showVal val="1"/>
              <c:showCatName val="0"/>
              <c:showSerName val="0"/>
              <c:showPercent val="0"/>
              <c:showBubbleSize val="0"/>
            </c:dLbl>
            <c:dLbl>
              <c:idx val="2"/>
              <c:tx>
                <c:rich>
                  <a:bodyPr/>
                  <a:lstStyle/>
                  <a:p>
                    <a:r>
                      <a:t>IX 26</a:t>
                    </a:r>
                  </a:p>
                  <a:p>
                    <a:r>
                      <a:t>38.3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7</a:t>
                    </a:r>
                  </a:p>
                  <a:p>
                    <a:r>
                      <a:t>42.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26</c:v>
                </c:pt>
                <c:pt idx="3">
                  <c:v/>
                </c:pt>
                <c:pt idx="4">
                  <c:v/>
                </c:pt>
                <c:pt idx="5">
                  <c:v>IX 107</c:v>
                </c:pt>
              </c:strCache>
            </c:strRef>
          </c:cat>
          <c:val>
            <c:numRef>
              <c:f>Sheet1!$C$2:$C$7</c:f>
              <c:numCache>
                <c:formatCode>General</c:formatCode>
                <c:ptCount val="6"/>
                <c:pt idx="0">
                  <c:v>29.52</c:v>
                </c:pt>
                <c:pt idx="1">
                  <c:v>54.28</c:v>
                </c:pt>
                <c:pt idx="2">
                  <c:v>38.32</c:v>
                </c:pt>
                <c:pt idx="5">
                  <c:v>42.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26</c:v>
                </c:pt>
                <c:pt idx="3">
                  <c:v/>
                </c:pt>
                <c:pt idx="4">
                  <c:v/>
                </c:pt>
                <c:pt idx="5">
                  <c:v>IX 107</c:v>
                </c:pt>
              </c:strCache>
            </c:strRef>
          </c:cat>
          <c:val>
            <c:numRef>
              <c:f>Sheet1!$D$2:$D$7</c:f>
              <c:numCache>
                <c:formatCode>General</c:formatCode>
                <c:ptCount val="6"/>
                <c:pt idx="0">
                  <c:v>74.12</c:v>
                </c:pt>
                <c:pt idx="1">
                  <c:v>128.56</c:v>
                </c:pt>
                <c:pt idx="2">
                  <c:v>148.51</c:v>
                </c:pt>
                <c:pt idx="3">
                  <c:v>279.29</c:v>
                </c:pt>
                <c:pt idx="4">
                  <c:v>57.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26</c:v>
                </c:pt>
                <c:pt idx="3">
                  <c:v/>
                </c:pt>
                <c:pt idx="4">
                  <c:v/>
                </c:pt>
                <c:pt idx="5">
                  <c:v>IX 107</c:v>
                </c:pt>
              </c:strCache>
            </c:strRef>
          </c:cat>
          <c:val>
            <c:numRef>
              <c:f>Sheet1!$E$2:$E$7</c:f>
              <c:numCache>
                <c:formatCode>General</c:formatCode>
                <c:ptCount val="6"/>
                <c:pt idx="0">
                  <c:v>58.29</c:v>
                </c:pt>
                <c:pt idx="1">
                  <c:v>312.49</c:v>
                </c:pt>
                <c:pt idx="2">
                  <c:v>106.8</c:v>
                </c:pt>
                <c:pt idx="3">
                  <c:v>82.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26</c:v>
                </c:pt>
                <c:pt idx="3">
                  <c:v/>
                </c:pt>
                <c:pt idx="4">
                  <c:v/>
                </c:pt>
                <c:pt idx="5">
                  <c:v>IX 107</c:v>
                </c:pt>
              </c:strCache>
            </c:strRef>
          </c:cat>
          <c:val>
            <c:numRef>
              <c:f>Sheet1!$F$2:$F$7</c:f>
              <c:numCache>
                <c:formatCode>General</c:formatCode>
                <c:ptCount val="6"/>
                <c:pt idx="1">
                  <c:v>47.6</c:v>
                </c:pt>
                <c:pt idx="2">
                  <c:v>47.87</c:v>
                </c:pt>
                <c:pt idx="3">
                  <c:v>49.78</c:v>
                </c:pt>
                <c:pt idx="5">
                  <c:v>39.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2.9909"/>
          <c:min val="29.02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
                </c:pt>
                <c:pt idx="5">
                  <c:v>IX 104</c:v>
                </c:pt>
              </c:strCache>
            </c:strRef>
          </c:cat>
          <c:val>
            <c:numRef>
              <c:f>Sheet1!$B$2:$B$7</c:f>
              <c:numCache>
                <c:formatCode>General</c:formatCode>
                <c:ptCount val="6"/>
                <c:pt idx="0">
                  <c:v>54.52</c:v>
                </c:pt>
                <c:pt idx="1">
                  <c:v>106.99</c:v>
                </c:pt>
                <c:pt idx="2">
                  <c:v>77.27</c:v>
                </c:pt>
                <c:pt idx="3">
                  <c:v>184.57</c:v>
                </c:pt>
                <c:pt idx="4">
                  <c:v>44.23</c:v>
                </c:pt>
                <c:pt idx="5">
                  <c:v>39.7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32</a:t>
                    </a:r>
                  </a:p>
                </c:rich>
              </c:tx>
              <c:dLblPos val="l"/>
              <c:showLegendKey val="0"/>
              <c:showVal val="1"/>
              <c:showCatName val="0"/>
              <c:showSerName val="0"/>
              <c:showPercent val="0"/>
              <c:showBubbleSize val="0"/>
            </c:dLbl>
            <c:dLbl>
              <c:idx val="1"/>
              <c:tx>
                <c:rich>
                  <a:bodyPr/>
                  <a:lstStyle/>
                  <a:p>
                    <a:r>
                      <a:t>IX 41</a:t>
                    </a:r>
                  </a:p>
                  <a:p>
                    <a:r>
                      <a:t>54.1</a:t>
                    </a:r>
                  </a:p>
                </c:rich>
              </c:tx>
              <c:dLblPos val="l"/>
              <c:showLegendKey val="0"/>
              <c:showVal val="1"/>
              <c:showCatName val="0"/>
              <c:showSerName val="0"/>
              <c:showPercent val="0"/>
              <c:showBubbleSize val="0"/>
            </c:dLbl>
            <c:dLbl>
              <c:idx val="2"/>
              <c:tx>
                <c:rich>
                  <a:bodyPr/>
                  <a:lstStyle/>
                  <a:p>
                    <a:r>
                      <a:t>IX 29</a:t>
                    </a:r>
                  </a:p>
                  <a:p>
                    <a:r>
                      <a:t>38.1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4</a:t>
                    </a:r>
                  </a:p>
                  <a:p>
                    <a:r>
                      <a:t>40.9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
                </c:pt>
                <c:pt idx="5">
                  <c:v>IX 104</c:v>
                </c:pt>
              </c:strCache>
            </c:strRef>
          </c:cat>
          <c:val>
            <c:numRef>
              <c:f>Sheet1!$C$2:$C$7</c:f>
              <c:numCache>
                <c:formatCode>General</c:formatCode>
                <c:ptCount val="6"/>
                <c:pt idx="0">
                  <c:v>29.32</c:v>
                </c:pt>
                <c:pt idx="1">
                  <c:v>54.1</c:v>
                </c:pt>
                <c:pt idx="2">
                  <c:v>38.13</c:v>
                </c:pt>
                <c:pt idx="5">
                  <c:v>40.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
                </c:pt>
                <c:pt idx="5">
                  <c:v>IX 104</c:v>
                </c:pt>
              </c:strCache>
            </c:strRef>
          </c:cat>
          <c:val>
            <c:numRef>
              <c:f>Sheet1!$D$2:$D$7</c:f>
              <c:numCache>
                <c:formatCode>General</c:formatCode>
                <c:ptCount val="6"/>
                <c:pt idx="0">
                  <c:v>75.46</c:v>
                </c:pt>
                <c:pt idx="1">
                  <c:v>131.6</c:v>
                </c:pt>
                <c:pt idx="2">
                  <c:v>129.68</c:v>
                </c:pt>
                <c:pt idx="3">
                  <c:v>243.5</c:v>
                </c:pt>
                <c:pt idx="4">
                  <c:v>59.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
                </c:pt>
                <c:pt idx="5">
                  <c:v>IX 104</c:v>
                </c:pt>
              </c:strCache>
            </c:strRef>
          </c:cat>
          <c:val>
            <c:numRef>
              <c:f>Sheet1!$E$2:$E$7</c:f>
              <c:numCache>
                <c:formatCode>General</c:formatCode>
                <c:ptCount val="6"/>
                <c:pt idx="0">
                  <c:v>45.15</c:v>
                </c:pt>
                <c:pt idx="2">
                  <c:v>52.91</c:v>
                </c:pt>
                <c:pt idx="3">
                  <c:v>272.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
                </c:pt>
                <c:pt idx="5">
                  <c:v>IX 104</c:v>
                </c:pt>
              </c:strCache>
            </c:strRef>
          </c:cat>
          <c:val>
            <c:numRef>
              <c:f>Sheet1!$F$2:$F$7</c:f>
              <c:numCache>
                <c:formatCode>General</c:formatCode>
                <c:ptCount val="6"/>
                <c:pt idx="1">
                  <c:v>47.48</c:v>
                </c:pt>
                <c:pt idx="2">
                  <c:v>49.06</c:v>
                </c:pt>
                <c:pt idx="3">
                  <c:v>49.47</c:v>
                </c:pt>
                <c:pt idx="5">
                  <c:v>3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3.1923"/>
          <c:min val="28.82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11</c:v>
                </c:pt>
                <c:pt idx="4">
                  <c:v/>
                </c:pt>
                <c:pt idx="5">
                  <c:v/>
                </c:pt>
              </c:strCache>
            </c:strRef>
          </c:cat>
          <c:val>
            <c:numRef>
              <c:f>Sheet1!$B$2:$B$7</c:f>
              <c:numCache>
                <c:formatCode>General</c:formatCode>
                <c:ptCount val="6"/>
                <c:pt idx="0">
                  <c:v>52.75</c:v>
                </c:pt>
                <c:pt idx="1">
                  <c:v>99.0</c:v>
                </c:pt>
                <c:pt idx="2">
                  <c:v>76.94</c:v>
                </c:pt>
                <c:pt idx="3">
                  <c:v>40.04</c:v>
                </c:pt>
                <c:pt idx="4">
                  <c:v>44.46</c:v>
                </c:pt>
                <c:pt idx="5">
                  <c:v>178.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57</a:t>
                    </a:r>
                  </a:p>
                </c:rich>
              </c:tx>
              <c:dLblPos val="l"/>
              <c:showLegendKey val="0"/>
              <c:showVal val="1"/>
              <c:showCatName val="0"/>
              <c:showSerName val="0"/>
              <c:showPercent val="0"/>
              <c:showBubbleSize val="0"/>
            </c:dLbl>
            <c:dLbl>
              <c:idx val="1"/>
              <c:tx>
                <c:rich>
                  <a:bodyPr/>
                  <a:lstStyle/>
                  <a:p>
                    <a:r>
                      <a:t>IX 41</a:t>
                    </a:r>
                  </a:p>
                  <a:p>
                    <a:r>
                      <a:t>53.2</a:t>
                    </a:r>
                  </a:p>
                </c:rich>
              </c:tx>
              <c:dLblPos val="l"/>
              <c:showLegendKey val="0"/>
              <c:showVal val="1"/>
              <c:showCatName val="0"/>
              <c:showSerName val="0"/>
              <c:showPercent val="0"/>
              <c:showBubbleSize val="0"/>
            </c:dLbl>
            <c:dLbl>
              <c:idx val="2"/>
              <c:tx>
                <c:rich>
                  <a:bodyPr/>
                  <a:lstStyle/>
                  <a:p>
                    <a:r>
                      <a:t>IX 28</a:t>
                    </a:r>
                  </a:p>
                  <a:p>
                    <a:r>
                      <a:t>38.41</a:t>
                    </a:r>
                  </a:p>
                </c:rich>
              </c:tx>
              <c:dLblPos val="l"/>
              <c:showLegendKey val="0"/>
              <c:showVal val="1"/>
              <c:showCatName val="0"/>
              <c:showSerName val="0"/>
              <c:showPercent val="0"/>
              <c:showBubbleSize val="0"/>
            </c:dLbl>
            <c:dLbl>
              <c:idx val="3"/>
              <c:tx>
                <c:rich>
                  <a:bodyPr/>
                  <a:lstStyle/>
                  <a:p>
                    <a:r>
                      <a:t>IX 111</a:t>
                    </a:r>
                  </a:p>
                  <a:p>
                    <a:r>
                      <a:t>43.9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11</c:v>
                </c:pt>
                <c:pt idx="4">
                  <c:v/>
                </c:pt>
                <c:pt idx="5">
                  <c:v/>
                </c:pt>
              </c:strCache>
            </c:strRef>
          </c:cat>
          <c:val>
            <c:numRef>
              <c:f>Sheet1!$C$2:$C$7</c:f>
              <c:numCache>
                <c:formatCode>General</c:formatCode>
                <c:ptCount val="6"/>
                <c:pt idx="0">
                  <c:v>29.57</c:v>
                </c:pt>
                <c:pt idx="1">
                  <c:v>53.2</c:v>
                </c:pt>
                <c:pt idx="2">
                  <c:v>38.41</c:v>
                </c:pt>
                <c:pt idx="3">
                  <c:v>43.9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11</c:v>
                </c:pt>
                <c:pt idx="4">
                  <c:v/>
                </c:pt>
                <c:pt idx="5">
                  <c:v/>
                </c:pt>
              </c:strCache>
            </c:strRef>
          </c:cat>
          <c:val>
            <c:numRef>
              <c:f>Sheet1!$D$2:$D$7</c:f>
              <c:numCache>
                <c:formatCode>General</c:formatCode>
                <c:ptCount val="6"/>
                <c:pt idx="0">
                  <c:v>73.78</c:v>
                </c:pt>
                <c:pt idx="1">
                  <c:v>130.14</c:v>
                </c:pt>
                <c:pt idx="2">
                  <c:v>137.51</c:v>
                </c:pt>
                <c:pt idx="4">
                  <c:v>57.71</c:v>
                </c:pt>
                <c:pt idx="5">
                  <c:v>258.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11</c:v>
                </c:pt>
                <c:pt idx="4">
                  <c:v/>
                </c:pt>
                <c:pt idx="5">
                  <c:v/>
                </c:pt>
              </c:strCache>
            </c:strRef>
          </c:cat>
          <c:val>
            <c:numRef>
              <c:f>Sheet1!$E$2:$E$7</c:f>
              <c:numCache>
                <c:formatCode>General</c:formatCode>
                <c:ptCount val="6"/>
                <c:pt idx="0">
                  <c:v>43.95</c:v>
                </c:pt>
                <c:pt idx="1">
                  <c:v>80.0</c:v>
                </c:pt>
                <c:pt idx="2">
                  <c:v>53.61</c:v>
                </c:pt>
                <c:pt idx="5">
                  <c:v>286.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11</c:v>
                </c:pt>
                <c:pt idx="4">
                  <c:v/>
                </c:pt>
                <c:pt idx="5">
                  <c:v/>
                </c:pt>
              </c:strCache>
            </c:strRef>
          </c:cat>
          <c:val>
            <c:numRef>
              <c:f>Sheet1!$F$2:$F$7</c:f>
              <c:numCache>
                <c:formatCode>General</c:formatCode>
                <c:ptCount val="6"/>
                <c:pt idx="0">
                  <c:v>73.33</c:v>
                </c:pt>
                <c:pt idx="1">
                  <c:v>47.02</c:v>
                </c:pt>
                <c:pt idx="2">
                  <c:v>47.99</c:v>
                </c:pt>
                <c:pt idx="3">
                  <c:v>39.56</c:v>
                </c:pt>
                <c:pt idx="4">
                  <c:v>29.0</c:v>
                </c:pt>
                <c:pt idx="5">
                  <c:v>49.4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7.0128"/>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0</c:v>
                </c:pt>
                <c:pt idx="5">
                  <c:v/>
                </c:pt>
              </c:strCache>
            </c:strRef>
          </c:cat>
          <c:val>
            <c:numRef>
              <c:f>Sheet1!$B$2:$B$7</c:f>
              <c:numCache>
                <c:formatCode>General</c:formatCode>
                <c:ptCount val="6"/>
                <c:pt idx="0">
                  <c:v>52.98</c:v>
                </c:pt>
                <c:pt idx="1">
                  <c:v>106.74</c:v>
                </c:pt>
                <c:pt idx="2">
                  <c:v>77.96</c:v>
                </c:pt>
                <c:pt idx="3">
                  <c:v>225.28</c:v>
                </c:pt>
                <c:pt idx="4">
                  <c:v>39.92</c:v>
                </c:pt>
                <c:pt idx="5">
                  <c:v>44.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34</a:t>
                    </a:r>
                  </a:p>
                </c:rich>
              </c:tx>
              <c:dLblPos val="l"/>
              <c:showLegendKey val="0"/>
              <c:showVal val="1"/>
              <c:showCatName val="0"/>
              <c:showSerName val="0"/>
              <c:showPercent val="0"/>
              <c:showBubbleSize val="0"/>
            </c:dLbl>
            <c:dLbl>
              <c:idx val="1"/>
              <c:tx>
                <c:rich>
                  <a:bodyPr/>
                  <a:lstStyle/>
                  <a:p>
                    <a:r>
                      <a:t>IX 41</a:t>
                    </a:r>
                  </a:p>
                  <a:p>
                    <a:r>
                      <a:t>53.98</a:t>
                    </a:r>
                  </a:p>
                </c:rich>
              </c:tx>
              <c:dLblPos val="l"/>
              <c:showLegendKey val="0"/>
              <c:showVal val="1"/>
              <c:showCatName val="0"/>
              <c:showSerName val="0"/>
              <c:showPercent val="0"/>
              <c:showBubbleSize val="0"/>
            </c:dLbl>
            <c:dLbl>
              <c:idx val="2"/>
              <c:tx>
                <c:rich>
                  <a:bodyPr/>
                  <a:lstStyle/>
                  <a:p>
                    <a:r>
                      <a:t>IX 29</a:t>
                    </a:r>
                  </a:p>
                  <a:p>
                    <a:r>
                      <a:t>38.0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0</a:t>
                    </a:r>
                  </a:p>
                  <a:p>
                    <a:r>
                      <a:t>43.0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0</c:v>
                </c:pt>
                <c:pt idx="5">
                  <c:v/>
                </c:pt>
              </c:strCache>
            </c:strRef>
          </c:cat>
          <c:val>
            <c:numRef>
              <c:f>Sheet1!$C$2:$C$7</c:f>
              <c:numCache>
                <c:formatCode>General</c:formatCode>
                <c:ptCount val="6"/>
                <c:pt idx="0">
                  <c:v>29.34</c:v>
                </c:pt>
                <c:pt idx="1">
                  <c:v>53.98</c:v>
                </c:pt>
                <c:pt idx="2">
                  <c:v>38.02</c:v>
                </c:pt>
                <c:pt idx="4">
                  <c:v>43.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0</c:v>
                </c:pt>
                <c:pt idx="5">
                  <c:v/>
                </c:pt>
              </c:strCache>
            </c:strRef>
          </c:cat>
          <c:val>
            <c:numRef>
              <c:f>Sheet1!$D$2:$D$7</c:f>
              <c:numCache>
                <c:formatCode>General</c:formatCode>
                <c:ptCount val="6"/>
                <c:pt idx="0">
                  <c:v>74.84</c:v>
                </c:pt>
                <c:pt idx="1">
                  <c:v>130.68</c:v>
                </c:pt>
                <c:pt idx="2">
                  <c:v>129.34</c:v>
                </c:pt>
                <c:pt idx="3">
                  <c:v>277.38</c:v>
                </c:pt>
                <c:pt idx="5">
                  <c:v>58.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0</c:v>
                </c:pt>
                <c:pt idx="5">
                  <c:v/>
                </c:pt>
              </c:strCache>
            </c:strRef>
          </c:cat>
          <c:val>
            <c:numRef>
              <c:f>Sheet1!$E$2:$E$7</c:f>
              <c:numCache>
                <c:formatCode>General</c:formatCode>
                <c:ptCount val="6"/>
                <c:pt idx="0">
                  <c:v>43.9</c:v>
                </c:pt>
                <c:pt idx="2">
                  <c:v>53.63</c:v>
                </c:pt>
                <c:pt idx="3">
                  <c:v>219.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0</c:v>
                </c:pt>
                <c:pt idx="5">
                  <c:v/>
                </c:pt>
              </c:strCache>
            </c:strRef>
          </c:cat>
          <c:val>
            <c:numRef>
              <c:f>Sheet1!$F$2:$F$7</c:f>
              <c:numCache>
                <c:formatCode>General</c:formatCode>
                <c:ptCount val="6"/>
                <c:pt idx="1">
                  <c:v>47.32</c:v>
                </c:pt>
                <c:pt idx="2">
                  <c:v>48.96</c:v>
                </c:pt>
                <c:pt idx="3">
                  <c:v>49.31</c:v>
                </c:pt>
                <c:pt idx="4">
                  <c:v>39.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8799"/>
          <c:min val="28.84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1</c:v>
                </c:pt>
                <c:pt idx="1">
                  <c:v>IX 42</c:v>
                </c:pt>
                <c:pt idx="2">
                  <c:v>IX 30</c:v>
                </c:pt>
                <c:pt idx="3">
                  <c:v/>
                </c:pt>
                <c:pt idx="4">
                  <c:v>IX 114</c:v>
                </c:pt>
                <c:pt idx="5">
                  <c:v/>
                </c:pt>
              </c:strCache>
            </c:strRef>
          </c:cat>
          <c:val>
            <c:numRef>
              <c:f>Sheet1!$B$2:$B$7</c:f>
              <c:numCache>
                <c:formatCode>General</c:formatCode>
                <c:ptCount val="6"/>
                <c:pt idx="0">
                  <c:v>53.69</c:v>
                </c:pt>
                <c:pt idx="1">
                  <c:v>98.81</c:v>
                </c:pt>
                <c:pt idx="2">
                  <c:v>73.64</c:v>
                </c:pt>
                <c:pt idx="3">
                  <c:v>187.1</c:v>
                </c:pt>
                <c:pt idx="4">
                  <c:v>39.97</c:v>
                </c:pt>
                <c:pt idx="5">
                  <c:v>44.3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30.22</a:t>
                    </a:r>
                  </a:p>
                </c:rich>
              </c:tx>
              <c:dLblPos val="l"/>
              <c:showLegendKey val="0"/>
              <c:showVal val="1"/>
              <c:showCatName val="0"/>
              <c:showSerName val="0"/>
              <c:showPercent val="0"/>
              <c:showBubbleSize val="0"/>
            </c:dLbl>
            <c:dLbl>
              <c:idx val="1"/>
              <c:tx>
                <c:rich>
                  <a:bodyPr/>
                  <a:lstStyle/>
                  <a:p>
                    <a:r>
                      <a:t>IX 42</a:t>
                    </a:r>
                  </a:p>
                  <a:p>
                    <a:r>
                      <a:t>55.52</a:t>
                    </a:r>
                  </a:p>
                </c:rich>
              </c:tx>
              <c:dLblPos val="l"/>
              <c:showLegendKey val="0"/>
              <c:showVal val="1"/>
              <c:showCatName val="0"/>
              <c:showSerName val="0"/>
              <c:showPercent val="0"/>
              <c:showBubbleSize val="0"/>
            </c:dLbl>
            <c:dLbl>
              <c:idx val="2"/>
              <c:tx>
                <c:rich>
                  <a:bodyPr/>
                  <a:lstStyle/>
                  <a:p>
                    <a:r>
                      <a:t>IX 30</a:t>
                    </a:r>
                  </a:p>
                  <a:p>
                    <a:r>
                      <a:t>38.4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4</a:t>
                    </a:r>
                  </a:p>
                  <a:p>
                    <a:r>
                      <a:t>44.8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1</c:v>
                </c:pt>
                <c:pt idx="1">
                  <c:v>IX 42</c:v>
                </c:pt>
                <c:pt idx="2">
                  <c:v>IX 30</c:v>
                </c:pt>
                <c:pt idx="3">
                  <c:v/>
                </c:pt>
                <c:pt idx="4">
                  <c:v>IX 114</c:v>
                </c:pt>
                <c:pt idx="5">
                  <c:v/>
                </c:pt>
              </c:strCache>
            </c:strRef>
          </c:cat>
          <c:val>
            <c:numRef>
              <c:f>Sheet1!$C$2:$C$7</c:f>
              <c:numCache>
                <c:formatCode>General</c:formatCode>
                <c:ptCount val="6"/>
                <c:pt idx="0">
                  <c:v>30.22</c:v>
                </c:pt>
                <c:pt idx="1">
                  <c:v>55.52</c:v>
                </c:pt>
                <c:pt idx="2">
                  <c:v>38.42</c:v>
                </c:pt>
                <c:pt idx="4">
                  <c:v>44.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1</c:v>
                </c:pt>
                <c:pt idx="1">
                  <c:v>IX 42</c:v>
                </c:pt>
                <c:pt idx="2">
                  <c:v>IX 30</c:v>
                </c:pt>
                <c:pt idx="3">
                  <c:v/>
                </c:pt>
                <c:pt idx="4">
                  <c:v>IX 114</c:v>
                </c:pt>
                <c:pt idx="5">
                  <c:v/>
                </c:pt>
              </c:strCache>
            </c:strRef>
          </c:cat>
          <c:val>
            <c:numRef>
              <c:f>Sheet1!$D$2:$D$7</c:f>
              <c:numCache>
                <c:formatCode>General</c:formatCode>
                <c:ptCount val="6"/>
                <c:pt idx="0">
                  <c:v>74.51</c:v>
                </c:pt>
                <c:pt idx="1">
                  <c:v>132.47</c:v>
                </c:pt>
                <c:pt idx="2">
                  <c:v>127.65</c:v>
                </c:pt>
                <c:pt idx="3">
                  <c:v>257.25</c:v>
                </c:pt>
                <c:pt idx="5">
                  <c:v>59.0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1</c:v>
                </c:pt>
                <c:pt idx="1">
                  <c:v>IX 42</c:v>
                </c:pt>
                <c:pt idx="2">
                  <c:v>IX 30</c:v>
                </c:pt>
                <c:pt idx="3">
                  <c:v/>
                </c:pt>
                <c:pt idx="4">
                  <c:v>IX 114</c:v>
                </c:pt>
                <c:pt idx="5">
                  <c:v/>
                </c:pt>
              </c:strCache>
            </c:strRef>
          </c:cat>
          <c:val>
            <c:numRef>
              <c:f>Sheet1!$E$2:$E$7</c:f>
              <c:numCache>
                <c:formatCode>General</c:formatCode>
                <c:ptCount val="6"/>
                <c:pt idx="0">
                  <c:v>43.71</c:v>
                </c:pt>
                <c:pt idx="2">
                  <c:v>54.02</c:v>
                </c:pt>
                <c:pt idx="3">
                  <c:v>345.8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1</c:v>
                </c:pt>
                <c:pt idx="1">
                  <c:v>IX 42</c:v>
                </c:pt>
                <c:pt idx="2">
                  <c:v>IX 30</c:v>
                </c:pt>
                <c:pt idx="3">
                  <c:v/>
                </c:pt>
                <c:pt idx="4">
                  <c:v>IX 114</c:v>
                </c:pt>
                <c:pt idx="5">
                  <c:v/>
                </c:pt>
              </c:strCache>
            </c:strRef>
          </c:cat>
          <c:val>
            <c:numRef>
              <c:f>Sheet1!$F$2:$F$7</c:f>
              <c:numCache>
                <c:formatCode>General</c:formatCode>
                <c:ptCount val="6"/>
                <c:pt idx="1">
                  <c:v>46.99</c:v>
                </c:pt>
                <c:pt idx="2">
                  <c:v>48.79</c:v>
                </c:pt>
                <c:pt idx="3">
                  <c:v>50.55</c:v>
                </c:pt>
                <c:pt idx="4">
                  <c:v>39.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6.37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IX 111</c:v>
                </c:pt>
                <c:pt idx="4">
                  <c:v/>
                </c:pt>
                <c:pt idx="5">
                  <c:v/>
                </c:pt>
              </c:strCache>
            </c:strRef>
          </c:cat>
          <c:val>
            <c:numRef>
              <c:f>Sheet1!$B$2:$B$7</c:f>
              <c:numCache>
                <c:formatCode>General</c:formatCode>
                <c:ptCount val="6"/>
                <c:pt idx="0">
                  <c:v>49.77</c:v>
                </c:pt>
                <c:pt idx="1">
                  <c:v>92.62</c:v>
                </c:pt>
                <c:pt idx="2">
                  <c:v>69.88</c:v>
                </c:pt>
                <c:pt idx="3">
                  <c:v>40.12</c:v>
                </c:pt>
                <c:pt idx="4">
                  <c:v>189.12</c:v>
                </c:pt>
                <c:pt idx="5">
                  <c:v>43.9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23</a:t>
                    </a:r>
                  </a:p>
                </c:rich>
              </c:tx>
              <c:dLblPos val="l"/>
              <c:showLegendKey val="0"/>
              <c:showVal val="1"/>
              <c:showCatName val="0"/>
              <c:showSerName val="0"/>
              <c:showPercent val="0"/>
              <c:showBubbleSize val="0"/>
            </c:dLbl>
            <c:dLbl>
              <c:idx val="1"/>
              <c:tx>
                <c:rich>
                  <a:bodyPr/>
                  <a:lstStyle/>
                  <a:p>
                    <a:r>
                      <a:t>IX 41</a:t>
                    </a:r>
                  </a:p>
                  <a:p>
                    <a:r>
                      <a:t>53.45</a:t>
                    </a:r>
                  </a:p>
                </c:rich>
              </c:tx>
              <c:dLblPos val="l"/>
              <c:showLegendKey val="0"/>
              <c:showVal val="1"/>
              <c:showCatName val="0"/>
              <c:showSerName val="0"/>
              <c:showPercent val="0"/>
              <c:showBubbleSize val="0"/>
            </c:dLbl>
            <c:dLbl>
              <c:idx val="2"/>
              <c:tx>
                <c:rich>
                  <a:bodyPr/>
                  <a:lstStyle/>
                  <a:p>
                    <a:r>
                      <a:t>IX 30</a:t>
                    </a:r>
                  </a:p>
                  <a:p>
                    <a:r>
                      <a:t>37.24</a:t>
                    </a:r>
                  </a:p>
                </c:rich>
              </c:tx>
              <c:dLblPos val="l"/>
              <c:showLegendKey val="0"/>
              <c:showVal val="1"/>
              <c:showCatName val="0"/>
              <c:showSerName val="0"/>
              <c:showPercent val="0"/>
              <c:showBubbleSize val="0"/>
            </c:dLbl>
            <c:dLbl>
              <c:idx val="3"/>
              <c:tx>
                <c:rich>
                  <a:bodyPr/>
                  <a:lstStyle/>
                  <a:p>
                    <a:r>
                      <a:t>IX 111</a:t>
                    </a:r>
                  </a:p>
                  <a:p>
                    <a:r>
                      <a:t>43.54</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IX 111</c:v>
                </c:pt>
                <c:pt idx="4">
                  <c:v/>
                </c:pt>
                <c:pt idx="5">
                  <c:v/>
                </c:pt>
              </c:strCache>
            </c:strRef>
          </c:cat>
          <c:val>
            <c:numRef>
              <c:f>Sheet1!$C$2:$C$7</c:f>
              <c:numCache>
                <c:formatCode>General</c:formatCode>
                <c:ptCount val="6"/>
                <c:pt idx="0">
                  <c:v>29.23</c:v>
                </c:pt>
                <c:pt idx="1">
                  <c:v>53.45</c:v>
                </c:pt>
                <c:pt idx="2">
                  <c:v>37.24</c:v>
                </c:pt>
                <c:pt idx="3">
                  <c:v>43.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IX 111</c:v>
                </c:pt>
                <c:pt idx="4">
                  <c:v/>
                </c:pt>
                <c:pt idx="5">
                  <c:v/>
                </c:pt>
              </c:strCache>
            </c:strRef>
          </c:cat>
          <c:val>
            <c:numRef>
              <c:f>Sheet1!$D$2:$D$7</c:f>
              <c:numCache>
                <c:formatCode>General</c:formatCode>
                <c:ptCount val="6"/>
                <c:pt idx="0">
                  <c:v>74.25</c:v>
                </c:pt>
                <c:pt idx="1">
                  <c:v>130.85</c:v>
                </c:pt>
                <c:pt idx="2">
                  <c:v>123.72</c:v>
                </c:pt>
                <c:pt idx="4">
                  <c:v>250.97</c:v>
                </c:pt>
                <c:pt idx="5">
                  <c:v>56.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fgv</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IX 111</c:v>
                </c:pt>
                <c:pt idx="4">
                  <c:v/>
                </c:pt>
                <c:pt idx="5">
                  <c:v/>
                </c:pt>
              </c:strCache>
            </c:strRef>
          </c:cat>
          <c:val>
            <c:numRef>
              <c:f>Sheet1!$E$2:$E$7</c:f>
              <c:numCache>
                <c:formatCode>General</c:formatCode>
                <c:ptCount val="6"/>
                <c:pt idx="0">
                  <c:v>48.5</c:v>
                </c:pt>
                <c:pt idx="2">
                  <c:v>49.39</c:v>
                </c:pt>
                <c:pt idx="5">
                  <c:v>42.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IX 111</c:v>
                </c:pt>
                <c:pt idx="4">
                  <c:v/>
                </c:pt>
                <c:pt idx="5">
                  <c:v/>
                </c:pt>
              </c:strCache>
            </c:strRef>
          </c:cat>
          <c:val>
            <c:numRef>
              <c:f>Sheet1!$F$2:$F$7</c:f>
              <c:numCache>
                <c:formatCode>General</c:formatCode>
                <c:ptCount val="6"/>
                <c:pt idx="1">
                  <c:v>46.85</c:v>
                </c:pt>
                <c:pt idx="2">
                  <c:v>49.05</c:v>
                </c:pt>
                <c:pt idx="3">
                  <c:v>39.3</c:v>
                </c:pt>
                <c:pt idx="4">
                  <c:v>49.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1.4664"/>
          <c:min val="28.72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7.67</c:v>
                </c:pt>
                <c:pt idx="1">
                  <c:v>14.13</c:v>
                </c:pt>
                <c:pt idx="2">
                  <c:v>2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5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1.4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2">
                  <c:v>15.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1">
                  <c:v>17.93</c:v>
                </c:pt>
                <c:pt idx="2">
                  <c:v>38.7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9747"/>
          <c:min val="13.63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1</c:v>
                </c:pt>
                <c:pt idx="5">
                  <c:v/>
                </c:pt>
              </c:strCache>
            </c:strRef>
          </c:cat>
          <c:val>
            <c:numRef>
              <c:f>Sheet1!$B$2:$B$7</c:f>
              <c:numCache>
                <c:formatCode>General</c:formatCode>
                <c:ptCount val="6"/>
                <c:pt idx="0">
                  <c:v>50.0</c:v>
                </c:pt>
                <c:pt idx="1">
                  <c:v>64.12</c:v>
                </c:pt>
                <c:pt idx="2">
                  <c:v>64.33</c:v>
                </c:pt>
                <c:pt idx="3">
                  <c:v>144.42</c:v>
                </c:pt>
                <c:pt idx="4">
                  <c:v>39.54</c:v>
                </c:pt>
                <c:pt idx="5">
                  <c:v>43.7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8.64</a:t>
                    </a:r>
                  </a:p>
                </c:rich>
              </c:tx>
              <c:dLblPos val="l"/>
              <c:showLegendKey val="0"/>
              <c:showVal val="1"/>
              <c:showCatName val="0"/>
              <c:showSerName val="0"/>
              <c:showPercent val="0"/>
              <c:showBubbleSize val="0"/>
            </c:dLbl>
            <c:dLbl>
              <c:idx val="1"/>
              <c:tx>
                <c:rich>
                  <a:bodyPr/>
                  <a:lstStyle/>
                  <a:p>
                    <a:r>
                      <a:t>IX 41</a:t>
                    </a:r>
                  </a:p>
                  <a:p>
                    <a:r>
                      <a:t>54.36</a:t>
                    </a:r>
                  </a:p>
                </c:rich>
              </c:tx>
              <c:dLblPos val="l"/>
              <c:showLegendKey val="0"/>
              <c:showVal val="1"/>
              <c:showCatName val="0"/>
              <c:showSerName val="0"/>
              <c:showPercent val="0"/>
              <c:showBubbleSize val="0"/>
            </c:dLbl>
            <c:dLbl>
              <c:idx val="2"/>
              <c:tx>
                <c:rich>
                  <a:bodyPr/>
                  <a:lstStyle/>
                  <a:p>
                    <a:r>
                      <a:t>IX 29</a:t>
                    </a:r>
                  </a:p>
                  <a:p>
                    <a:r>
                      <a:t>35.6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1</a:t>
                    </a:r>
                  </a:p>
                  <a:p>
                    <a:r>
                      <a:t>43.1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1</c:v>
                </c:pt>
                <c:pt idx="5">
                  <c:v/>
                </c:pt>
              </c:strCache>
            </c:strRef>
          </c:cat>
          <c:val>
            <c:numRef>
              <c:f>Sheet1!$C$2:$C$7</c:f>
              <c:numCache>
                <c:formatCode>General</c:formatCode>
                <c:ptCount val="6"/>
                <c:pt idx="0">
                  <c:v>28.64</c:v>
                </c:pt>
                <c:pt idx="1">
                  <c:v>54.36</c:v>
                </c:pt>
                <c:pt idx="2">
                  <c:v>35.69</c:v>
                </c:pt>
                <c:pt idx="4">
                  <c:v>4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1</c:v>
                </c:pt>
                <c:pt idx="5">
                  <c:v/>
                </c:pt>
              </c:strCache>
            </c:strRef>
          </c:cat>
          <c:val>
            <c:numRef>
              <c:f>Sheet1!$D$2:$D$7</c:f>
              <c:numCache>
                <c:formatCode>General</c:formatCode>
                <c:ptCount val="6"/>
                <c:pt idx="0">
                  <c:v>74.23</c:v>
                </c:pt>
                <c:pt idx="1">
                  <c:v>132.02</c:v>
                </c:pt>
                <c:pt idx="2">
                  <c:v>123.5</c:v>
                </c:pt>
                <c:pt idx="3">
                  <c:v>226.82</c:v>
                </c:pt>
                <c:pt idx="5">
                  <c:v>58.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1</c:v>
                </c:pt>
                <c:pt idx="5">
                  <c:v/>
                </c:pt>
              </c:strCache>
            </c:strRef>
          </c:cat>
          <c:val>
            <c:numRef>
              <c:f>Sheet1!$E$2:$E$7</c:f>
              <c:numCache>
                <c:formatCode>General</c:formatCode>
                <c:ptCount val="6"/>
                <c:pt idx="0">
                  <c:v>47.76</c:v>
                </c:pt>
                <c:pt idx="1">
                  <c:v>69.0</c:v>
                </c:pt>
                <c:pt idx="2">
                  <c:v>54.84</c:v>
                </c:pt>
                <c:pt idx="3">
                  <c:v>256.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1</c:v>
                </c:pt>
                <c:pt idx="5">
                  <c:v/>
                </c:pt>
              </c:strCache>
            </c:strRef>
          </c:cat>
          <c:val>
            <c:numRef>
              <c:f>Sheet1!$F$2:$F$7</c:f>
              <c:numCache>
                <c:formatCode>General</c:formatCode>
                <c:ptCount val="6"/>
                <c:pt idx="1">
                  <c:v>47.71</c:v>
                </c:pt>
                <c:pt idx="2">
                  <c:v>48.2</c:v>
                </c:pt>
                <c:pt idx="3">
                  <c:v>49.24</c:v>
                </c:pt>
                <c:pt idx="4">
                  <c:v>38.9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6.5"/>
          <c:min val="28.13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4</c:v>
                </c:pt>
                <c:pt idx="3">
                  <c:v/>
                </c:pt>
                <c:pt idx="4">
                  <c:v>IX 112</c:v>
                </c:pt>
                <c:pt idx="5">
                  <c:v/>
                </c:pt>
              </c:strCache>
            </c:strRef>
          </c:cat>
          <c:val>
            <c:numRef>
              <c:f>Sheet1!$B$2:$B$7</c:f>
              <c:numCache>
                <c:formatCode>General</c:formatCode>
                <c:ptCount val="6"/>
                <c:pt idx="0">
                  <c:v>53.78</c:v>
                </c:pt>
                <c:pt idx="1">
                  <c:v>103.52</c:v>
                </c:pt>
                <c:pt idx="2">
                  <c:v>86.6</c:v>
                </c:pt>
                <c:pt idx="3">
                  <c:v>208.25</c:v>
                </c:pt>
                <c:pt idx="4">
                  <c:v>39.92</c:v>
                </c:pt>
                <c:pt idx="5">
                  <c:v>44.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45</a:t>
                    </a:r>
                  </a:p>
                </c:rich>
              </c:tx>
              <c:dLblPos val="l"/>
              <c:showLegendKey val="0"/>
              <c:showVal val="1"/>
              <c:showCatName val="0"/>
              <c:showSerName val="0"/>
              <c:showPercent val="0"/>
              <c:showBubbleSize val="0"/>
            </c:dLbl>
            <c:dLbl>
              <c:idx val="1"/>
              <c:tx>
                <c:rich>
                  <a:bodyPr/>
                  <a:lstStyle/>
                  <a:p>
                    <a:r>
                      <a:t>IX 41</a:t>
                    </a:r>
                  </a:p>
                  <a:p>
                    <a:r>
                      <a:t>53.32</a:t>
                    </a:r>
                  </a:p>
                </c:rich>
              </c:tx>
              <c:dLblPos val="l"/>
              <c:showLegendKey val="0"/>
              <c:showVal val="1"/>
              <c:showCatName val="0"/>
              <c:showSerName val="0"/>
              <c:showPercent val="0"/>
              <c:showBubbleSize val="0"/>
            </c:dLbl>
            <c:dLbl>
              <c:idx val="2"/>
              <c:tx>
                <c:rich>
                  <a:bodyPr/>
                  <a:lstStyle/>
                  <a:p>
                    <a:r>
                      <a:t>IX 24</a:t>
                    </a:r>
                  </a:p>
                  <a:p>
                    <a:r>
                      <a:t>37.9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2</a:t>
                    </a:r>
                  </a:p>
                  <a:p>
                    <a:r>
                      <a:t>43.9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4</c:v>
                </c:pt>
                <c:pt idx="3">
                  <c:v/>
                </c:pt>
                <c:pt idx="4">
                  <c:v>IX 112</c:v>
                </c:pt>
                <c:pt idx="5">
                  <c:v/>
                </c:pt>
              </c:strCache>
            </c:strRef>
          </c:cat>
          <c:val>
            <c:numRef>
              <c:f>Sheet1!$C$2:$C$7</c:f>
              <c:numCache>
                <c:formatCode>General</c:formatCode>
                <c:ptCount val="6"/>
                <c:pt idx="0">
                  <c:v>29.45</c:v>
                </c:pt>
                <c:pt idx="1">
                  <c:v>53.32</c:v>
                </c:pt>
                <c:pt idx="2">
                  <c:v>37.91</c:v>
                </c:pt>
                <c:pt idx="4">
                  <c:v>43.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4</c:v>
                </c:pt>
                <c:pt idx="3">
                  <c:v/>
                </c:pt>
                <c:pt idx="4">
                  <c:v>IX 112</c:v>
                </c:pt>
                <c:pt idx="5">
                  <c:v/>
                </c:pt>
              </c:strCache>
            </c:strRef>
          </c:cat>
          <c:val>
            <c:numRef>
              <c:f>Sheet1!$D$2:$D$7</c:f>
              <c:numCache>
                <c:formatCode>General</c:formatCode>
                <c:ptCount val="6"/>
                <c:pt idx="0">
                  <c:v>74.31</c:v>
                </c:pt>
                <c:pt idx="1">
                  <c:v>131.63</c:v>
                </c:pt>
                <c:pt idx="2">
                  <c:v>155.79</c:v>
                </c:pt>
                <c:pt idx="3">
                  <c:v>279.52</c:v>
                </c:pt>
                <c:pt idx="5">
                  <c:v>57.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4</c:v>
                </c:pt>
                <c:pt idx="3">
                  <c:v/>
                </c:pt>
                <c:pt idx="4">
                  <c:v>IX 112</c:v>
                </c:pt>
                <c:pt idx="5">
                  <c:v/>
                </c:pt>
              </c:strCache>
            </c:strRef>
          </c:cat>
          <c:val>
            <c:numRef>
              <c:f>Sheet1!$E$2:$E$7</c:f>
              <c:numCache>
                <c:formatCode>General</c:formatCode>
                <c:ptCount val="6"/>
                <c:pt idx="0">
                  <c:v>44.09</c:v>
                </c:pt>
                <c:pt idx="1">
                  <c:v>83.75</c:v>
                </c:pt>
                <c:pt idx="2">
                  <c:v>53.68</c:v>
                </c:pt>
                <c:pt idx="3">
                  <c:v>279.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4</c:v>
                </c:pt>
                <c:pt idx="3">
                  <c:v/>
                </c:pt>
                <c:pt idx="4">
                  <c:v>IX 112</c:v>
                </c:pt>
                <c:pt idx="5">
                  <c:v/>
                </c:pt>
              </c:strCache>
            </c:strRef>
          </c:cat>
          <c:val>
            <c:numRef>
              <c:f>Sheet1!$F$2:$F$7</c:f>
              <c:numCache>
                <c:formatCode>General</c:formatCode>
                <c:ptCount val="6"/>
                <c:pt idx="1">
                  <c:v>47.02</c:v>
                </c:pt>
                <c:pt idx="2">
                  <c:v>47.94</c:v>
                </c:pt>
                <c:pt idx="3">
                  <c:v>49.56</c:v>
                </c:pt>
                <c:pt idx="4">
                  <c:v>39.3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0.0333"/>
          <c:min val="28.94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11</c:v>
                </c:pt>
                <c:pt idx="4">
                  <c:v/>
                </c:pt>
                <c:pt idx="5">
                  <c:v/>
                </c:pt>
              </c:strCache>
            </c:strRef>
          </c:cat>
          <c:val>
            <c:numRef>
              <c:f>Sheet1!$B$2:$B$7</c:f>
              <c:numCache>
                <c:formatCode>General</c:formatCode>
                <c:ptCount val="6"/>
                <c:pt idx="0">
                  <c:v>52.29</c:v>
                </c:pt>
                <c:pt idx="1">
                  <c:v>96.43</c:v>
                </c:pt>
                <c:pt idx="2">
                  <c:v>71.4</c:v>
                </c:pt>
                <c:pt idx="3">
                  <c:v>40.0</c:v>
                </c:pt>
                <c:pt idx="4">
                  <c:v>44.68</c:v>
                </c:pt>
                <c:pt idx="5">
                  <c:v>172.9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44</a:t>
                    </a:r>
                  </a:p>
                </c:rich>
              </c:tx>
              <c:dLblPos val="l"/>
              <c:showLegendKey val="0"/>
              <c:showVal val="1"/>
              <c:showCatName val="0"/>
              <c:showSerName val="0"/>
              <c:showPercent val="0"/>
              <c:showBubbleSize val="0"/>
            </c:dLbl>
            <c:dLbl>
              <c:idx val="1"/>
              <c:tx>
                <c:rich>
                  <a:bodyPr/>
                  <a:lstStyle/>
                  <a:p>
                    <a:r>
                      <a:t>IX 41</a:t>
                    </a:r>
                  </a:p>
                  <a:p>
                    <a:r>
                      <a:t>53.07</a:t>
                    </a:r>
                  </a:p>
                </c:rich>
              </c:tx>
              <c:dLblPos val="l"/>
              <c:showLegendKey val="0"/>
              <c:showVal val="1"/>
              <c:showCatName val="0"/>
              <c:showSerName val="0"/>
              <c:showPercent val="0"/>
              <c:showBubbleSize val="0"/>
            </c:dLbl>
            <c:dLbl>
              <c:idx val="2"/>
              <c:tx>
                <c:rich>
                  <a:bodyPr/>
                  <a:lstStyle/>
                  <a:p>
                    <a:r>
                      <a:t>IX 31</a:t>
                    </a:r>
                  </a:p>
                  <a:p>
                    <a:r>
                      <a:t>38.49</a:t>
                    </a:r>
                  </a:p>
                </c:rich>
              </c:tx>
              <c:dLblPos val="l"/>
              <c:showLegendKey val="0"/>
              <c:showVal val="1"/>
              <c:showCatName val="0"/>
              <c:showSerName val="0"/>
              <c:showPercent val="0"/>
              <c:showBubbleSize val="0"/>
            </c:dLbl>
            <c:dLbl>
              <c:idx val="3"/>
              <c:tx>
                <c:rich>
                  <a:bodyPr/>
                  <a:lstStyle/>
                  <a:p>
                    <a:r>
                      <a:t>IX 111</a:t>
                    </a:r>
                  </a:p>
                  <a:p>
                    <a:r>
                      <a:t>43.69</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11</c:v>
                </c:pt>
                <c:pt idx="4">
                  <c:v/>
                </c:pt>
                <c:pt idx="5">
                  <c:v/>
                </c:pt>
              </c:strCache>
            </c:strRef>
          </c:cat>
          <c:val>
            <c:numRef>
              <c:f>Sheet1!$C$2:$C$7</c:f>
              <c:numCache>
                <c:formatCode>General</c:formatCode>
                <c:ptCount val="6"/>
                <c:pt idx="0">
                  <c:v>29.44</c:v>
                </c:pt>
                <c:pt idx="1">
                  <c:v>53.07</c:v>
                </c:pt>
                <c:pt idx="2">
                  <c:v>38.49</c:v>
                </c:pt>
                <c:pt idx="3">
                  <c:v>43.6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11</c:v>
                </c:pt>
                <c:pt idx="4">
                  <c:v/>
                </c:pt>
                <c:pt idx="5">
                  <c:v/>
                </c:pt>
              </c:strCache>
            </c:strRef>
          </c:cat>
          <c:val>
            <c:numRef>
              <c:f>Sheet1!$D$2:$D$7</c:f>
              <c:numCache>
                <c:formatCode>General</c:formatCode>
                <c:ptCount val="6"/>
                <c:pt idx="0">
                  <c:v>74.05</c:v>
                </c:pt>
                <c:pt idx="1">
                  <c:v>129.85</c:v>
                </c:pt>
                <c:pt idx="2">
                  <c:v>124.64</c:v>
                </c:pt>
                <c:pt idx="4">
                  <c:v>58.49</c:v>
                </c:pt>
                <c:pt idx="5">
                  <c:v>2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11</c:v>
                </c:pt>
                <c:pt idx="4">
                  <c:v/>
                </c:pt>
                <c:pt idx="5">
                  <c:v/>
                </c:pt>
              </c:strCache>
            </c:strRef>
          </c:cat>
          <c:val>
            <c:numRef>
              <c:f>Sheet1!$E$2:$E$7</c:f>
              <c:numCache>
                <c:formatCode>General</c:formatCode>
                <c:ptCount val="6"/>
                <c:pt idx="0">
                  <c:v>44.01</c:v>
                </c:pt>
                <c:pt idx="2">
                  <c:v>53.46</c:v>
                </c:pt>
                <c:pt idx="5">
                  <c:v>256.3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11</c:v>
                </c:pt>
                <c:pt idx="4">
                  <c:v/>
                </c:pt>
                <c:pt idx="5">
                  <c:v/>
                </c:pt>
              </c:strCache>
            </c:strRef>
          </c:cat>
          <c:val>
            <c:numRef>
              <c:f>Sheet1!$F$2:$F$7</c:f>
              <c:numCache>
                <c:formatCode>General</c:formatCode>
                <c:ptCount val="6"/>
                <c:pt idx="1">
                  <c:v>47.17</c:v>
                </c:pt>
                <c:pt idx="2">
                  <c:v>48.34</c:v>
                </c:pt>
                <c:pt idx="3">
                  <c:v>39.5</c:v>
                </c:pt>
                <c:pt idx="5">
                  <c:v>50.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7038"/>
          <c:min val="28.94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11</c:v>
                </c:pt>
                <c:pt idx="4">
                  <c:v/>
                </c:pt>
                <c:pt idx="5">
                  <c:v/>
                </c:pt>
              </c:strCache>
            </c:strRef>
          </c:cat>
          <c:val>
            <c:numRef>
              <c:f>Sheet1!$B$2:$B$7</c:f>
              <c:numCache>
                <c:formatCode>General</c:formatCode>
                <c:ptCount val="6"/>
                <c:pt idx="0">
                  <c:v>51.91</c:v>
                </c:pt>
                <c:pt idx="1">
                  <c:v>95.07</c:v>
                </c:pt>
                <c:pt idx="2">
                  <c:v>71.44</c:v>
                </c:pt>
                <c:pt idx="3">
                  <c:v>39.95</c:v>
                </c:pt>
                <c:pt idx="4">
                  <c:v>44.06</c:v>
                </c:pt>
                <c:pt idx="5">
                  <c:v>181.4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54</a:t>
                    </a:r>
                  </a:p>
                </c:rich>
              </c:tx>
              <c:dLblPos val="l"/>
              <c:showLegendKey val="0"/>
              <c:showVal val="1"/>
              <c:showCatName val="0"/>
              <c:showSerName val="0"/>
              <c:showPercent val="0"/>
              <c:showBubbleSize val="0"/>
            </c:dLbl>
            <c:dLbl>
              <c:idx val="1"/>
              <c:tx>
                <c:rich>
                  <a:bodyPr/>
                  <a:lstStyle/>
                  <a:p>
                    <a:r>
                      <a:t>IX 42</a:t>
                    </a:r>
                  </a:p>
                  <a:p>
                    <a:r>
                      <a:t>53.91</a:t>
                    </a:r>
                  </a:p>
                </c:rich>
              </c:tx>
              <c:dLblPos val="l"/>
              <c:showLegendKey val="0"/>
              <c:showVal val="1"/>
              <c:showCatName val="0"/>
              <c:showSerName val="0"/>
              <c:showPercent val="0"/>
              <c:showBubbleSize val="0"/>
            </c:dLbl>
            <c:dLbl>
              <c:idx val="2"/>
              <c:tx>
                <c:rich>
                  <a:bodyPr/>
                  <a:lstStyle/>
                  <a:p>
                    <a:r>
                      <a:t>IX 30</a:t>
                    </a:r>
                  </a:p>
                  <a:p>
                    <a:r>
                      <a:t>38.72</a:t>
                    </a:r>
                  </a:p>
                </c:rich>
              </c:tx>
              <c:dLblPos val="l"/>
              <c:showLegendKey val="0"/>
              <c:showVal val="1"/>
              <c:showCatName val="0"/>
              <c:showSerName val="0"/>
              <c:showPercent val="0"/>
              <c:showBubbleSize val="0"/>
            </c:dLbl>
            <c:dLbl>
              <c:idx val="3"/>
              <c:tx>
                <c:rich>
                  <a:bodyPr/>
                  <a:lstStyle/>
                  <a:p>
                    <a:r>
                      <a:t>IX 111</a:t>
                    </a:r>
                  </a:p>
                  <a:p>
                    <a:r>
                      <a:t>43.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11</c:v>
                </c:pt>
                <c:pt idx="4">
                  <c:v/>
                </c:pt>
                <c:pt idx="5">
                  <c:v/>
                </c:pt>
              </c:strCache>
            </c:strRef>
          </c:cat>
          <c:val>
            <c:numRef>
              <c:f>Sheet1!$C$2:$C$7</c:f>
              <c:numCache>
                <c:formatCode>General</c:formatCode>
                <c:ptCount val="6"/>
                <c:pt idx="0">
                  <c:v>29.54</c:v>
                </c:pt>
                <c:pt idx="1">
                  <c:v>53.91</c:v>
                </c:pt>
                <c:pt idx="2">
                  <c:v>38.72</c:v>
                </c:pt>
                <c:pt idx="3">
                  <c:v>43.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11</c:v>
                </c:pt>
                <c:pt idx="4">
                  <c:v/>
                </c:pt>
                <c:pt idx="5">
                  <c:v/>
                </c:pt>
              </c:strCache>
            </c:strRef>
          </c:cat>
          <c:val>
            <c:numRef>
              <c:f>Sheet1!$D$2:$D$7</c:f>
              <c:numCache>
                <c:formatCode>General</c:formatCode>
                <c:ptCount val="6"/>
                <c:pt idx="0">
                  <c:v>74.02</c:v>
                </c:pt>
                <c:pt idx="1">
                  <c:v>129.82</c:v>
                </c:pt>
                <c:pt idx="2">
                  <c:v>127.12</c:v>
                </c:pt>
                <c:pt idx="4">
                  <c:v>58.39</c:v>
                </c:pt>
                <c:pt idx="5">
                  <c:v>248.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11</c:v>
                </c:pt>
                <c:pt idx="4">
                  <c:v/>
                </c:pt>
                <c:pt idx="5">
                  <c:v/>
                </c:pt>
              </c:strCache>
            </c:strRef>
          </c:cat>
          <c:val>
            <c:numRef>
              <c:f>Sheet1!$E$2:$E$7</c:f>
              <c:numCache>
                <c:formatCode>General</c:formatCode>
                <c:ptCount val="6"/>
                <c:pt idx="0">
                  <c:v>43.88</c:v>
                </c:pt>
                <c:pt idx="1">
                  <c:v>50.0</c:v>
                </c:pt>
                <c:pt idx="2">
                  <c:v>53.22</c:v>
                </c:pt>
                <c:pt idx="5">
                  <c:v>277.5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11</c:v>
                </c:pt>
                <c:pt idx="4">
                  <c:v/>
                </c:pt>
                <c:pt idx="5">
                  <c:v/>
                </c:pt>
              </c:strCache>
            </c:strRef>
          </c:cat>
          <c:val>
            <c:numRef>
              <c:f>Sheet1!$F$2:$F$7</c:f>
              <c:numCache>
                <c:formatCode>General</c:formatCode>
                <c:ptCount val="6"/>
                <c:pt idx="1">
                  <c:v>46.96</c:v>
                </c:pt>
                <c:pt idx="2">
                  <c:v>48.12</c:v>
                </c:pt>
                <c:pt idx="3">
                  <c:v>39.47</c:v>
                </c:pt>
                <c:pt idx="5">
                  <c:v>49.5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0769"/>
          <c:min val="29.04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08</c:v>
                </c:pt>
                <c:pt idx="4">
                  <c:v/>
                </c:pt>
                <c:pt idx="5">
                  <c:v/>
                </c:pt>
              </c:strCache>
            </c:strRef>
          </c:cat>
          <c:val>
            <c:numRef>
              <c:f>Sheet1!$B$2:$B$7</c:f>
              <c:numCache>
                <c:formatCode>General</c:formatCode>
                <c:ptCount val="6"/>
                <c:pt idx="0">
                  <c:v>52.09</c:v>
                </c:pt>
                <c:pt idx="1">
                  <c:v>96.24</c:v>
                </c:pt>
                <c:pt idx="2">
                  <c:v>70.82</c:v>
                </c:pt>
                <c:pt idx="3">
                  <c:v>40.06</c:v>
                </c:pt>
                <c:pt idx="4">
                  <c:v>44.02</c:v>
                </c:pt>
                <c:pt idx="5">
                  <c:v>169.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76</a:t>
                    </a:r>
                  </a:p>
                </c:rich>
              </c:tx>
              <c:dLblPos val="l"/>
              <c:showLegendKey val="0"/>
              <c:showVal val="1"/>
              <c:showCatName val="0"/>
              <c:showSerName val="0"/>
              <c:showPercent val="0"/>
              <c:showBubbleSize val="0"/>
            </c:dLbl>
            <c:dLbl>
              <c:idx val="1"/>
              <c:tx>
                <c:rich>
                  <a:bodyPr/>
                  <a:lstStyle/>
                  <a:p>
                    <a:r>
                      <a:t>IX 41</a:t>
                    </a:r>
                  </a:p>
                  <a:p>
                    <a:r>
                      <a:t>53.48</a:t>
                    </a:r>
                  </a:p>
                </c:rich>
              </c:tx>
              <c:dLblPos val="l"/>
              <c:showLegendKey val="0"/>
              <c:showVal val="1"/>
              <c:showCatName val="0"/>
              <c:showSerName val="0"/>
              <c:showPercent val="0"/>
              <c:showBubbleSize val="0"/>
            </c:dLbl>
            <c:dLbl>
              <c:idx val="2"/>
              <c:tx>
                <c:rich>
                  <a:bodyPr/>
                  <a:lstStyle/>
                  <a:p>
                    <a:r>
                      <a:t>IX 31</a:t>
                    </a:r>
                  </a:p>
                  <a:p>
                    <a:r>
                      <a:t>38.19</a:t>
                    </a:r>
                  </a:p>
                </c:rich>
              </c:tx>
              <c:dLblPos val="l"/>
              <c:showLegendKey val="0"/>
              <c:showVal val="1"/>
              <c:showCatName val="0"/>
              <c:showSerName val="0"/>
              <c:showPercent val="0"/>
              <c:showBubbleSize val="0"/>
            </c:dLbl>
            <c:dLbl>
              <c:idx val="3"/>
              <c:tx>
                <c:rich>
                  <a:bodyPr/>
                  <a:lstStyle/>
                  <a:p>
                    <a:r>
                      <a:t>IX 108</a:t>
                    </a:r>
                  </a:p>
                  <a:p>
                    <a:r>
                      <a:t>42.75</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08</c:v>
                </c:pt>
                <c:pt idx="4">
                  <c:v/>
                </c:pt>
                <c:pt idx="5">
                  <c:v/>
                </c:pt>
              </c:strCache>
            </c:strRef>
          </c:cat>
          <c:val>
            <c:numRef>
              <c:f>Sheet1!$C$2:$C$7</c:f>
              <c:numCache>
                <c:formatCode>General</c:formatCode>
                <c:ptCount val="6"/>
                <c:pt idx="0">
                  <c:v>29.76</c:v>
                </c:pt>
                <c:pt idx="1">
                  <c:v>53.48</c:v>
                </c:pt>
                <c:pt idx="2">
                  <c:v>38.19</c:v>
                </c:pt>
                <c:pt idx="3">
                  <c:v>42.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08</c:v>
                </c:pt>
                <c:pt idx="4">
                  <c:v/>
                </c:pt>
                <c:pt idx="5">
                  <c:v/>
                </c:pt>
              </c:strCache>
            </c:strRef>
          </c:cat>
          <c:val>
            <c:numRef>
              <c:f>Sheet1!$D$2:$D$7</c:f>
              <c:numCache>
                <c:formatCode>General</c:formatCode>
                <c:ptCount val="6"/>
                <c:pt idx="0">
                  <c:v>73.7</c:v>
                </c:pt>
                <c:pt idx="1">
                  <c:v>129.67</c:v>
                </c:pt>
                <c:pt idx="2">
                  <c:v>123.49</c:v>
                </c:pt>
                <c:pt idx="4">
                  <c:v>57.71</c:v>
                </c:pt>
                <c:pt idx="5">
                  <c:v>243.7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08</c:v>
                </c:pt>
                <c:pt idx="4">
                  <c:v/>
                </c:pt>
                <c:pt idx="5">
                  <c:v/>
                </c:pt>
              </c:strCache>
            </c:strRef>
          </c:cat>
          <c:val>
            <c:numRef>
              <c:f>Sheet1!$E$2:$E$7</c:f>
              <c:numCache>
                <c:formatCode>General</c:formatCode>
                <c:ptCount val="6"/>
                <c:pt idx="0">
                  <c:v>43.75</c:v>
                </c:pt>
                <c:pt idx="2">
                  <c:v>54.65</c:v>
                </c:pt>
                <c:pt idx="5">
                  <c:v>252.2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08</c:v>
                </c:pt>
                <c:pt idx="4">
                  <c:v/>
                </c:pt>
                <c:pt idx="5">
                  <c:v/>
                </c:pt>
              </c:strCache>
            </c:strRef>
          </c:cat>
          <c:val>
            <c:numRef>
              <c:f>Sheet1!$F$2:$F$7</c:f>
              <c:numCache>
                <c:formatCode>General</c:formatCode>
                <c:ptCount val="6"/>
                <c:pt idx="0">
                  <c:v>73.33</c:v>
                </c:pt>
                <c:pt idx="1">
                  <c:v>47.12</c:v>
                </c:pt>
                <c:pt idx="2">
                  <c:v>48.51</c:v>
                </c:pt>
                <c:pt idx="3">
                  <c:v>39.52</c:v>
                </c:pt>
                <c:pt idx="4">
                  <c:v>29.0</c:v>
                </c:pt>
                <c:pt idx="5">
                  <c:v>49.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2.727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7</c:v>
                </c:pt>
                <c:pt idx="4">
                  <c:v/>
                </c:pt>
                <c:pt idx="5">
                  <c:v/>
                </c:pt>
              </c:strCache>
            </c:strRef>
          </c:cat>
          <c:val>
            <c:numRef>
              <c:f>Sheet1!$B$2:$B$7</c:f>
              <c:numCache>
                <c:formatCode>General</c:formatCode>
                <c:ptCount val="6"/>
                <c:pt idx="0">
                  <c:v>51.55</c:v>
                </c:pt>
                <c:pt idx="1">
                  <c:v>91.79</c:v>
                </c:pt>
                <c:pt idx="2">
                  <c:v>69.8</c:v>
                </c:pt>
                <c:pt idx="3">
                  <c:v>40.03</c:v>
                </c:pt>
                <c:pt idx="4">
                  <c:v>44.42</c:v>
                </c:pt>
                <c:pt idx="5">
                  <c:v>139.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58</a:t>
                    </a:r>
                  </a:p>
                </c:rich>
              </c:tx>
              <c:dLblPos val="l"/>
              <c:showLegendKey val="0"/>
              <c:showVal val="1"/>
              <c:showCatName val="0"/>
              <c:showSerName val="0"/>
              <c:showPercent val="0"/>
              <c:showBubbleSize val="0"/>
            </c:dLbl>
            <c:dLbl>
              <c:idx val="1"/>
              <c:tx>
                <c:rich>
                  <a:bodyPr/>
                  <a:lstStyle/>
                  <a:p>
                    <a:r>
                      <a:t>IX 41</a:t>
                    </a:r>
                  </a:p>
                  <a:p>
                    <a:r>
                      <a:t>53.47</a:t>
                    </a:r>
                  </a:p>
                </c:rich>
              </c:tx>
              <c:dLblPos val="l"/>
              <c:showLegendKey val="0"/>
              <c:showVal val="1"/>
              <c:showCatName val="0"/>
              <c:showSerName val="0"/>
              <c:showPercent val="0"/>
              <c:showBubbleSize val="0"/>
            </c:dLbl>
            <c:dLbl>
              <c:idx val="2"/>
              <c:tx>
                <c:rich>
                  <a:bodyPr/>
                  <a:lstStyle/>
                  <a:p>
                    <a:r>
                      <a:t>IX 30</a:t>
                    </a:r>
                  </a:p>
                  <a:p>
                    <a:r>
                      <a:t>37.56</a:t>
                    </a:r>
                  </a:p>
                </c:rich>
              </c:tx>
              <c:dLblPos val="l"/>
              <c:showLegendKey val="0"/>
              <c:showVal val="1"/>
              <c:showCatName val="0"/>
              <c:showSerName val="0"/>
              <c:showPercent val="0"/>
              <c:showBubbleSize val="0"/>
            </c:dLbl>
            <c:dLbl>
              <c:idx val="3"/>
              <c:tx>
                <c:rich>
                  <a:bodyPr/>
                  <a:lstStyle/>
                  <a:p>
                    <a:r>
                      <a:t>IX 107</a:t>
                    </a:r>
                  </a:p>
                  <a:p>
                    <a:r>
                      <a:t>42.4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7</c:v>
                </c:pt>
                <c:pt idx="4">
                  <c:v/>
                </c:pt>
                <c:pt idx="5">
                  <c:v/>
                </c:pt>
              </c:strCache>
            </c:strRef>
          </c:cat>
          <c:val>
            <c:numRef>
              <c:f>Sheet1!$C$2:$C$7</c:f>
              <c:numCache>
                <c:formatCode>General</c:formatCode>
                <c:ptCount val="6"/>
                <c:pt idx="0">
                  <c:v>29.58</c:v>
                </c:pt>
                <c:pt idx="1">
                  <c:v>53.47</c:v>
                </c:pt>
                <c:pt idx="2">
                  <c:v>37.56</c:v>
                </c:pt>
                <c:pt idx="3">
                  <c:v>42.4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7</c:v>
                </c:pt>
                <c:pt idx="4">
                  <c:v/>
                </c:pt>
                <c:pt idx="5">
                  <c:v/>
                </c:pt>
              </c:strCache>
            </c:strRef>
          </c:cat>
          <c:val>
            <c:numRef>
              <c:f>Sheet1!$D$2:$D$7</c:f>
              <c:numCache>
                <c:formatCode>General</c:formatCode>
                <c:ptCount val="6"/>
                <c:pt idx="0">
                  <c:v>73.53</c:v>
                </c:pt>
                <c:pt idx="1">
                  <c:v>129.56</c:v>
                </c:pt>
                <c:pt idx="2">
                  <c:v>123.35</c:v>
                </c:pt>
                <c:pt idx="4">
                  <c:v>57.85</c:v>
                </c:pt>
                <c:pt idx="5">
                  <c:v>226.3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7</c:v>
                </c:pt>
                <c:pt idx="4">
                  <c:v/>
                </c:pt>
                <c:pt idx="5">
                  <c:v/>
                </c:pt>
              </c:strCache>
            </c:strRef>
          </c:cat>
          <c:val>
            <c:numRef>
              <c:f>Sheet1!$E$2:$E$7</c:f>
              <c:numCache>
                <c:formatCode>General</c:formatCode>
                <c:ptCount val="6"/>
                <c:pt idx="0">
                  <c:v>43.64</c:v>
                </c:pt>
                <c:pt idx="1">
                  <c:v>69.0</c:v>
                </c:pt>
                <c:pt idx="2">
                  <c:v>54.57</c:v>
                </c:pt>
                <c:pt idx="5">
                  <c:v>257.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7</c:v>
                </c:pt>
                <c:pt idx="4">
                  <c:v/>
                </c:pt>
                <c:pt idx="5">
                  <c:v/>
                </c:pt>
              </c:strCache>
            </c:strRef>
          </c:cat>
          <c:val>
            <c:numRef>
              <c:f>Sheet1!$F$2:$F$7</c:f>
              <c:numCache>
                <c:formatCode>General</c:formatCode>
                <c:ptCount val="6"/>
                <c:pt idx="1">
                  <c:v>47.09</c:v>
                </c:pt>
                <c:pt idx="2">
                  <c:v>48.57</c:v>
                </c:pt>
                <c:pt idx="3">
                  <c:v>39.48</c:v>
                </c:pt>
                <c:pt idx="5">
                  <c:v>50.1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7.9667"/>
          <c:min val="29.08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7</c:v>
                </c:pt>
                <c:pt idx="1">
                  <c:v>IX 95</c:v>
                </c:pt>
                <c:pt idx="2">
                  <c:v>IX 134</c:v>
                </c:pt>
                <c:pt idx="3">
                  <c:v/>
                </c:pt>
                <c:pt idx="4">
                  <c:v>IX 111</c:v>
                </c:pt>
                <c:pt idx="5">
                  <c:v/>
                </c:pt>
              </c:strCache>
            </c:strRef>
          </c:cat>
          <c:val>
            <c:numRef>
              <c:f>Sheet1!$B$2:$B$7</c:f>
              <c:numCache>
                <c:formatCode>General</c:formatCode>
                <c:ptCount val="6"/>
                <c:pt idx="0">
                  <c:v>26.36</c:v>
                </c:pt>
                <c:pt idx="1">
                  <c:v>41.98</c:v>
                </c:pt>
                <c:pt idx="2">
                  <c:v>67.49</c:v>
                </c:pt>
                <c:pt idx="3">
                  <c:v>42.13</c:v>
                </c:pt>
                <c:pt idx="4">
                  <c:v>39.94</c:v>
                </c:pt>
                <c:pt idx="5">
                  <c:v>176.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7</a:t>
                    </a:r>
                  </a:p>
                  <a:p>
                    <a:r>
                      <a:t>29.53</a:t>
                    </a:r>
                  </a:p>
                </c:rich>
              </c:tx>
              <c:dLblPos val="l"/>
              <c:showLegendKey val="0"/>
              <c:showVal val="1"/>
              <c:showCatName val="0"/>
              <c:showSerName val="0"/>
              <c:showPercent val="0"/>
              <c:showBubbleSize val="0"/>
            </c:dLbl>
            <c:dLbl>
              <c:idx val="1"/>
              <c:tx>
                <c:rich>
                  <a:bodyPr/>
                  <a:lstStyle/>
                  <a:p>
                    <a:r>
                      <a:t>IX 95</a:t>
                    </a:r>
                  </a:p>
                  <a:p>
                    <a:r>
                      <a:t>37.99</a:t>
                    </a:r>
                  </a:p>
                </c:rich>
              </c:tx>
              <c:dLblPos val="l"/>
              <c:showLegendKey val="0"/>
              <c:showVal val="1"/>
              <c:showCatName val="0"/>
              <c:showSerName val="0"/>
              <c:showPercent val="0"/>
              <c:showBubbleSize val="0"/>
            </c:dLbl>
            <c:dLbl>
              <c:idx val="2"/>
              <c:tx>
                <c:rich>
                  <a:bodyPr/>
                  <a:lstStyle/>
                  <a:p>
                    <a:r>
                      <a:t>IX 134</a:t>
                    </a:r>
                  </a:p>
                  <a:p>
                    <a:r>
                      <a:t>54.7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1</a:t>
                    </a:r>
                  </a:p>
                  <a:p>
                    <a:r>
                      <a:t>43.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7</c:v>
                </c:pt>
                <c:pt idx="1">
                  <c:v>IX 95</c:v>
                </c:pt>
                <c:pt idx="2">
                  <c:v>IX 134</c:v>
                </c:pt>
                <c:pt idx="3">
                  <c:v/>
                </c:pt>
                <c:pt idx="4">
                  <c:v>IX 111</c:v>
                </c:pt>
                <c:pt idx="5">
                  <c:v/>
                </c:pt>
              </c:strCache>
            </c:strRef>
          </c:cat>
          <c:val>
            <c:numRef>
              <c:f>Sheet1!$C$2:$C$7</c:f>
              <c:numCache>
                <c:formatCode>General</c:formatCode>
                <c:ptCount val="6"/>
                <c:pt idx="0">
                  <c:v>29.53</c:v>
                </c:pt>
                <c:pt idx="1">
                  <c:v>37.99</c:v>
                </c:pt>
                <c:pt idx="2">
                  <c:v>54.71</c:v>
                </c:pt>
                <c:pt idx="4">
                  <c:v>4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colas Feuilla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7</c:v>
                </c:pt>
                <c:pt idx="1">
                  <c:v>IX 95</c:v>
                </c:pt>
                <c:pt idx="2">
                  <c:v>IX 134</c:v>
                </c:pt>
                <c:pt idx="3">
                  <c:v/>
                </c:pt>
                <c:pt idx="4">
                  <c:v>IX 111</c:v>
                </c:pt>
                <c:pt idx="5">
                  <c:v/>
                </c:pt>
              </c:strCache>
            </c:strRef>
          </c:cat>
          <c:val>
            <c:numRef>
              <c:f>Sheet1!$D$2:$D$7</c:f>
              <c:numCache>
                <c:formatCode>General</c:formatCode>
                <c:ptCount val="6"/>
                <c:pt idx="0">
                  <c:v>27.47</c:v>
                </c:pt>
                <c:pt idx="1">
                  <c:v>39.82</c:v>
                </c:pt>
                <c:pt idx="3">
                  <c:v>41.54</c:v>
                </c:pt>
                <c:pt idx="5">
                  <c:v>219.8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nard Duchê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7</c:v>
                </c:pt>
                <c:pt idx="1">
                  <c:v>IX 95</c:v>
                </c:pt>
                <c:pt idx="2">
                  <c:v>IX 134</c:v>
                </c:pt>
                <c:pt idx="3">
                  <c:v/>
                </c:pt>
                <c:pt idx="4">
                  <c:v>IX 111</c:v>
                </c:pt>
                <c:pt idx="5">
                  <c:v/>
                </c:pt>
              </c:strCache>
            </c:strRef>
          </c:cat>
          <c:val>
            <c:numRef>
              <c:f>Sheet1!$E$2:$E$7</c:f>
              <c:numCache>
                <c:formatCode>General</c:formatCode>
                <c:ptCount val="6"/>
                <c:pt idx="0">
                  <c:v>32.21</c:v>
                </c:pt>
                <c:pt idx="1">
                  <c:v>38.12</c:v>
                </c:pt>
                <c:pt idx="2">
                  <c:v>40.96</c:v>
                </c:pt>
                <c:pt idx="3">
                  <c:v>40.19</c:v>
                </c:pt>
                <c:pt idx="5">
                  <c:v>179.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7</c:v>
                </c:pt>
                <c:pt idx="1">
                  <c:v>IX 95</c:v>
                </c:pt>
                <c:pt idx="2">
                  <c:v>IX 134</c:v>
                </c:pt>
                <c:pt idx="3">
                  <c:v/>
                </c:pt>
                <c:pt idx="4">
                  <c:v>IX 111</c:v>
                </c:pt>
                <c:pt idx="5">
                  <c:v/>
                </c:pt>
              </c:strCache>
            </c:strRef>
          </c:cat>
          <c:val>
            <c:numRef>
              <c:f>Sheet1!$F$2:$F$7</c:f>
              <c:numCache>
                <c:formatCode>General</c:formatCode>
                <c:ptCount val="6"/>
                <c:pt idx="0">
                  <c:v>29.57</c:v>
                </c:pt>
                <c:pt idx="1">
                  <c:v>33.57</c:v>
                </c:pt>
                <c:pt idx="2">
                  <c:v>47.04</c:v>
                </c:pt>
                <c:pt idx="3">
                  <c:v>29.0</c:v>
                </c:pt>
                <c:pt idx="4">
                  <c:v>39.42</c:v>
                </c:pt>
                <c:pt idx="5">
                  <c:v>49.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0.3333"/>
          <c:min val="25.86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B$2:$B$7</c:f>
              <c:numCache>
                <c:formatCode>General</c:formatCode>
                <c:ptCount val="6"/>
                <c:pt idx="0">
                  <c:v>52.47</c:v>
                </c:pt>
                <c:pt idx="1">
                  <c:v>97.59</c:v>
                </c:pt>
                <c:pt idx="2">
                  <c:v>75.73</c:v>
                </c:pt>
                <c:pt idx="3">
                  <c:v>39.99</c:v>
                </c:pt>
                <c:pt idx="4">
                  <c:v>180.04</c:v>
                </c:pt>
                <c:pt idx="5">
                  <c:v>44.3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54</a:t>
                    </a:r>
                  </a:p>
                </c:rich>
              </c:tx>
              <c:dLblPos val="l"/>
              <c:showLegendKey val="0"/>
              <c:showVal val="1"/>
              <c:showCatName val="0"/>
              <c:showSerName val="0"/>
              <c:showPercent val="0"/>
              <c:showBubbleSize val="0"/>
            </c:dLbl>
            <c:dLbl>
              <c:idx val="1"/>
              <c:tx>
                <c:rich>
                  <a:bodyPr/>
                  <a:lstStyle/>
                  <a:p>
                    <a:r>
                      <a:t>IX 42</a:t>
                    </a:r>
                  </a:p>
                  <a:p>
                    <a:r>
                      <a:t>54.87</a:t>
                    </a:r>
                  </a:p>
                </c:rich>
              </c:tx>
              <c:dLblPos val="l"/>
              <c:showLegendKey val="0"/>
              <c:showVal val="1"/>
              <c:showCatName val="0"/>
              <c:showSerName val="0"/>
              <c:showPercent val="0"/>
              <c:showBubbleSize val="0"/>
            </c:dLbl>
            <c:dLbl>
              <c:idx val="2"/>
              <c:tx>
                <c:rich>
                  <a:bodyPr/>
                  <a:lstStyle/>
                  <a:p>
                    <a:r>
                      <a:t>IX 31</a:t>
                    </a:r>
                  </a:p>
                  <a:p>
                    <a:r>
                      <a:t>38.19</a:t>
                    </a:r>
                  </a:p>
                </c:rich>
              </c:tx>
              <c:dLblPos val="l"/>
              <c:showLegendKey val="0"/>
              <c:showVal val="1"/>
              <c:showCatName val="0"/>
              <c:showSerName val="0"/>
              <c:showPercent val="0"/>
              <c:showBubbleSize val="0"/>
            </c:dLbl>
            <c:dLbl>
              <c:idx val="3"/>
              <c:tx>
                <c:rich>
                  <a:bodyPr/>
                  <a:lstStyle/>
                  <a:p>
                    <a:r>
                      <a:t>IX 109</a:t>
                    </a:r>
                  </a:p>
                  <a:p>
                    <a:r>
                      <a:t>43.0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C$2:$C$7</c:f>
              <c:numCache>
                <c:formatCode>General</c:formatCode>
                <c:ptCount val="6"/>
                <c:pt idx="0">
                  <c:v>29.54</c:v>
                </c:pt>
                <c:pt idx="1">
                  <c:v>54.87</c:v>
                </c:pt>
                <c:pt idx="2">
                  <c:v>38.19</c:v>
                </c:pt>
                <c:pt idx="3">
                  <c:v>43.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D$2:$D$7</c:f>
              <c:numCache>
                <c:formatCode>General</c:formatCode>
                <c:ptCount val="6"/>
                <c:pt idx="0">
                  <c:v>75.48</c:v>
                </c:pt>
                <c:pt idx="1">
                  <c:v>130.54</c:v>
                </c:pt>
                <c:pt idx="2">
                  <c:v>124.15</c:v>
                </c:pt>
                <c:pt idx="4">
                  <c:v>11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E$2:$E$7</c:f>
              <c:numCache>
                <c:formatCode>General</c:formatCode>
                <c:ptCount val="6"/>
                <c:pt idx="0">
                  <c:v>46.62</c:v>
                </c:pt>
                <c:pt idx="2">
                  <c:v>50.12</c:v>
                </c:pt>
                <c:pt idx="4">
                  <c:v>219.83</c:v>
                </c:pt>
                <c:pt idx="5">
                  <c:v>41.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F$2:$F$7</c:f>
              <c:numCache>
                <c:formatCode>General</c:formatCode>
                <c:ptCount val="6"/>
                <c:pt idx="0">
                  <c:v>73.33</c:v>
                </c:pt>
                <c:pt idx="1">
                  <c:v>47.12</c:v>
                </c:pt>
                <c:pt idx="2">
                  <c:v>48.08</c:v>
                </c:pt>
                <c:pt idx="3">
                  <c:v>39.48</c:v>
                </c:pt>
                <c:pt idx="4">
                  <c:v>49.67</c:v>
                </c:pt>
                <c:pt idx="5">
                  <c:v>29.0</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0.3333"/>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0</c:v>
                </c:pt>
                <c:pt idx="4">
                  <c:v/>
                </c:pt>
                <c:pt idx="5">
                  <c:v/>
                </c:pt>
              </c:strCache>
            </c:strRef>
          </c:cat>
          <c:val>
            <c:numRef>
              <c:f>Sheet1!$B$2:$B$7</c:f>
              <c:numCache>
                <c:formatCode>General</c:formatCode>
                <c:ptCount val="6"/>
                <c:pt idx="0">
                  <c:v>52.07</c:v>
                </c:pt>
                <c:pt idx="1">
                  <c:v>93.41</c:v>
                </c:pt>
                <c:pt idx="2">
                  <c:v>74.97</c:v>
                </c:pt>
                <c:pt idx="3">
                  <c:v>40.03</c:v>
                </c:pt>
                <c:pt idx="4">
                  <c:v>44.26</c:v>
                </c:pt>
                <c:pt idx="5">
                  <c:v>162.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64</a:t>
                    </a:r>
                  </a:p>
                </c:rich>
              </c:tx>
              <c:dLblPos val="l"/>
              <c:showLegendKey val="0"/>
              <c:showVal val="1"/>
              <c:showCatName val="0"/>
              <c:showSerName val="0"/>
              <c:showPercent val="0"/>
              <c:showBubbleSize val="0"/>
            </c:dLbl>
            <c:dLbl>
              <c:idx val="1"/>
              <c:tx>
                <c:rich>
                  <a:bodyPr/>
                  <a:lstStyle/>
                  <a:p>
                    <a:r>
                      <a:t>IX 42</a:t>
                    </a:r>
                  </a:p>
                  <a:p>
                    <a:r>
                      <a:t>54.44</a:t>
                    </a:r>
                  </a:p>
                </c:rich>
              </c:tx>
              <c:dLblPos val="l"/>
              <c:showLegendKey val="0"/>
              <c:showVal val="1"/>
              <c:showCatName val="0"/>
              <c:showSerName val="0"/>
              <c:showPercent val="0"/>
              <c:showBubbleSize val="0"/>
            </c:dLbl>
            <c:dLbl>
              <c:idx val="2"/>
              <c:tx>
                <c:rich>
                  <a:bodyPr/>
                  <a:lstStyle/>
                  <a:p>
                    <a:r>
                      <a:t>IX 31</a:t>
                    </a:r>
                  </a:p>
                  <a:p>
                    <a:r>
                      <a:t>38.45</a:t>
                    </a:r>
                  </a:p>
                </c:rich>
              </c:tx>
              <c:dLblPos val="l"/>
              <c:showLegendKey val="0"/>
              <c:showVal val="1"/>
              <c:showCatName val="0"/>
              <c:showSerName val="0"/>
              <c:showPercent val="0"/>
              <c:showBubbleSize val="0"/>
            </c:dLbl>
            <c:dLbl>
              <c:idx val="3"/>
              <c:tx>
                <c:rich>
                  <a:bodyPr/>
                  <a:lstStyle/>
                  <a:p>
                    <a:r>
                      <a:t>IX 110</a:t>
                    </a:r>
                  </a:p>
                  <a:p>
                    <a:r>
                      <a:t>43.5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0</c:v>
                </c:pt>
                <c:pt idx="4">
                  <c:v/>
                </c:pt>
                <c:pt idx="5">
                  <c:v/>
                </c:pt>
              </c:strCache>
            </c:strRef>
          </c:cat>
          <c:val>
            <c:numRef>
              <c:f>Sheet1!$C$2:$C$7</c:f>
              <c:numCache>
                <c:formatCode>General</c:formatCode>
                <c:ptCount val="6"/>
                <c:pt idx="0">
                  <c:v>29.64</c:v>
                </c:pt>
                <c:pt idx="1">
                  <c:v>54.44</c:v>
                </c:pt>
                <c:pt idx="2">
                  <c:v>38.45</c:v>
                </c:pt>
                <c:pt idx="3">
                  <c:v>43.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0</c:v>
                </c:pt>
                <c:pt idx="4">
                  <c:v/>
                </c:pt>
                <c:pt idx="5">
                  <c:v/>
                </c:pt>
              </c:strCache>
            </c:strRef>
          </c:cat>
          <c:val>
            <c:numRef>
              <c:f>Sheet1!$D$2:$D$7</c:f>
              <c:numCache>
                <c:formatCode>General</c:formatCode>
                <c:ptCount val="6"/>
                <c:pt idx="0">
                  <c:v>75.1</c:v>
                </c:pt>
                <c:pt idx="1">
                  <c:v>130.96</c:v>
                </c:pt>
                <c:pt idx="2">
                  <c:v>123.41</c:v>
                </c:pt>
                <c:pt idx="5">
                  <c:v>123.2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0</c:v>
                </c:pt>
                <c:pt idx="4">
                  <c:v/>
                </c:pt>
                <c:pt idx="5">
                  <c:v/>
                </c:pt>
              </c:strCache>
            </c:strRef>
          </c:cat>
          <c:val>
            <c:numRef>
              <c:f>Sheet1!$E$2:$E$7</c:f>
              <c:numCache>
                <c:formatCode>General</c:formatCode>
                <c:ptCount val="6"/>
                <c:pt idx="0">
                  <c:v>46.67</c:v>
                </c:pt>
                <c:pt idx="2">
                  <c:v>50.11</c:v>
                </c:pt>
                <c:pt idx="4">
                  <c:v>41.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0</c:v>
                </c:pt>
                <c:pt idx="4">
                  <c:v/>
                </c:pt>
                <c:pt idx="5">
                  <c:v/>
                </c:pt>
              </c:strCache>
            </c:strRef>
          </c:cat>
          <c:val>
            <c:numRef>
              <c:f>Sheet1!$F$2:$F$7</c:f>
              <c:numCache>
                <c:formatCode>General</c:formatCode>
                <c:ptCount val="6"/>
                <c:pt idx="1">
                  <c:v>47.09</c:v>
                </c:pt>
                <c:pt idx="2">
                  <c:v>47.96</c:v>
                </c:pt>
                <c:pt idx="3">
                  <c:v>39.55</c:v>
                </c:pt>
                <c:pt idx="4">
                  <c:v>29.0</c:v>
                </c:pt>
                <c:pt idx="5">
                  <c:v>49.3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3.4813"/>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B$2:$B$7</c:f>
              <c:numCache>
                <c:formatCode>General</c:formatCode>
                <c:ptCount val="6"/>
                <c:pt idx="0">
                  <c:v>50.81</c:v>
                </c:pt>
                <c:pt idx="1">
                  <c:v>89.92</c:v>
                </c:pt>
                <c:pt idx="2">
                  <c:v>69.42</c:v>
                </c:pt>
                <c:pt idx="3">
                  <c:v>39.74</c:v>
                </c:pt>
                <c:pt idx="4">
                  <c:v>165.1</c:v>
                </c:pt>
                <c:pt idx="5">
                  <c:v>43.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41</a:t>
                    </a:r>
                  </a:p>
                </c:rich>
              </c:tx>
              <c:dLblPos val="l"/>
              <c:showLegendKey val="0"/>
              <c:showVal val="1"/>
              <c:showCatName val="0"/>
              <c:showSerName val="0"/>
              <c:showPercent val="0"/>
              <c:showBubbleSize val="0"/>
            </c:dLbl>
            <c:dLbl>
              <c:idx val="1"/>
              <c:tx>
                <c:rich>
                  <a:bodyPr/>
                  <a:lstStyle/>
                  <a:p>
                    <a:r>
                      <a:t>IX 42</a:t>
                    </a:r>
                  </a:p>
                  <a:p>
                    <a:r>
                      <a:t>54.38</a:t>
                    </a:r>
                  </a:p>
                </c:rich>
              </c:tx>
              <c:dLblPos val="l"/>
              <c:showLegendKey val="0"/>
              <c:showVal val="1"/>
              <c:showCatName val="0"/>
              <c:showSerName val="0"/>
              <c:showPercent val="0"/>
              <c:showBubbleSize val="0"/>
            </c:dLbl>
            <c:dLbl>
              <c:idx val="2"/>
              <c:tx>
                <c:rich>
                  <a:bodyPr/>
                  <a:lstStyle/>
                  <a:p>
                    <a:r>
                      <a:t>IX 31</a:t>
                    </a:r>
                  </a:p>
                  <a:p>
                    <a:r>
                      <a:t>37.56</a:t>
                    </a:r>
                  </a:p>
                </c:rich>
              </c:tx>
              <c:dLblPos val="l"/>
              <c:showLegendKey val="0"/>
              <c:showVal val="1"/>
              <c:showCatName val="0"/>
              <c:showSerName val="0"/>
              <c:showPercent val="0"/>
              <c:showBubbleSize val="0"/>
            </c:dLbl>
            <c:dLbl>
              <c:idx val="3"/>
              <c:tx>
                <c:rich>
                  <a:bodyPr/>
                  <a:lstStyle/>
                  <a:p>
                    <a:r>
                      <a:t>IX 109</a:t>
                    </a:r>
                  </a:p>
                  <a:p>
                    <a:r>
                      <a:t>42.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C$2:$C$7</c:f>
              <c:numCache>
                <c:formatCode>General</c:formatCode>
                <c:ptCount val="6"/>
                <c:pt idx="0">
                  <c:v>29.41</c:v>
                </c:pt>
                <c:pt idx="1">
                  <c:v>54.38</c:v>
                </c:pt>
                <c:pt idx="2">
                  <c:v>37.56</c:v>
                </c:pt>
                <c:pt idx="3">
                  <c:v>42.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D$2:$D$7</c:f>
              <c:numCache>
                <c:formatCode>General</c:formatCode>
                <c:ptCount val="6"/>
                <c:pt idx="0">
                  <c:v>74.99</c:v>
                </c:pt>
                <c:pt idx="1">
                  <c:v>130.3</c:v>
                </c:pt>
                <c:pt idx="2">
                  <c:v>122.19</c:v>
                </c:pt>
                <c:pt idx="4">
                  <c:v>119.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E$2:$E$7</c:f>
              <c:numCache>
                <c:formatCode>General</c:formatCode>
                <c:ptCount val="6"/>
                <c:pt idx="0">
                  <c:v>45.62</c:v>
                </c:pt>
                <c:pt idx="2">
                  <c:v>50.07</c:v>
                </c:pt>
                <c:pt idx="5">
                  <c:v>41.4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F$2:$F$7</c:f>
              <c:numCache>
                <c:formatCode>General</c:formatCode>
                <c:ptCount val="6"/>
                <c:pt idx="0">
                  <c:v>73.33</c:v>
                </c:pt>
                <c:pt idx="1">
                  <c:v>46.86</c:v>
                </c:pt>
                <c:pt idx="2">
                  <c:v>48.27</c:v>
                </c:pt>
                <c:pt idx="3">
                  <c:v>39.21</c:v>
                </c:pt>
                <c:pt idx="4">
                  <c:v>49.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5.6045"/>
          <c:min val="28.9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0.73</c:v>
                </c:pt>
                <c:pt idx="1">
                  <c:v>13.62</c:v>
                </c:pt>
                <c:pt idx="2">
                  <c:v>23.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3</a:t>
                    </a:r>
                  </a:p>
                  <a:p>
                    <a:r>
                      <a:t>31.2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6.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yr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2">
                  <c:v>15.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e Chance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1">
                  <c:v>18.08</c:v>
                </c:pt>
                <c:pt idx="2">
                  <c:v>39.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6.6298"/>
          <c:min val="13.121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
                </c:pt>
                <c:pt idx="4">
                  <c:v>IX 109</c:v>
                </c:pt>
                <c:pt idx="5">
                  <c:v/>
                </c:pt>
              </c:strCache>
            </c:strRef>
          </c:cat>
          <c:val>
            <c:numRef>
              <c:f>Sheet1!$B$2:$B$7</c:f>
              <c:numCache>
                <c:formatCode>General</c:formatCode>
                <c:ptCount val="6"/>
                <c:pt idx="0">
                  <c:v>54.11</c:v>
                </c:pt>
                <c:pt idx="1">
                  <c:v>105.47</c:v>
                </c:pt>
                <c:pt idx="2">
                  <c:v>77.86</c:v>
                </c:pt>
                <c:pt idx="3">
                  <c:v>199.9</c:v>
                </c:pt>
                <c:pt idx="4">
                  <c:v>40.27</c:v>
                </c:pt>
                <c:pt idx="5">
                  <c:v>44.9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73</a:t>
                    </a:r>
                  </a:p>
                </c:rich>
              </c:tx>
              <c:dLblPos val="l"/>
              <c:showLegendKey val="0"/>
              <c:showVal val="1"/>
              <c:showCatName val="0"/>
              <c:showSerName val="0"/>
              <c:showPercent val="0"/>
              <c:showBubbleSize val="0"/>
            </c:dLbl>
            <c:dLbl>
              <c:idx val="1"/>
              <c:tx>
                <c:rich>
                  <a:bodyPr/>
                  <a:lstStyle/>
                  <a:p>
                    <a:r>
                      <a:t>IX 43</a:t>
                    </a:r>
                  </a:p>
                  <a:p>
                    <a:r>
                      <a:t>55.93</a:t>
                    </a:r>
                  </a:p>
                </c:rich>
              </c:tx>
              <c:dLblPos val="l"/>
              <c:showLegendKey val="0"/>
              <c:showVal val="1"/>
              <c:showCatName val="0"/>
              <c:showSerName val="0"/>
              <c:showPercent val="0"/>
              <c:showBubbleSize val="0"/>
            </c:dLbl>
            <c:dLbl>
              <c:idx val="2"/>
              <c:tx>
                <c:rich>
                  <a:bodyPr/>
                  <a:lstStyle/>
                  <a:p>
                    <a:r>
                      <a:t>IX 31</a:t>
                    </a:r>
                  </a:p>
                  <a:p>
                    <a:r>
                      <a:t>39.3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9</a:t>
                    </a:r>
                  </a:p>
                  <a:p>
                    <a:r>
                      <a:t>43.1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
                </c:pt>
                <c:pt idx="4">
                  <c:v>IX 109</c:v>
                </c:pt>
                <c:pt idx="5">
                  <c:v/>
                </c:pt>
              </c:strCache>
            </c:strRef>
          </c:cat>
          <c:val>
            <c:numRef>
              <c:f>Sheet1!$C$2:$C$7</c:f>
              <c:numCache>
                <c:formatCode>General</c:formatCode>
                <c:ptCount val="6"/>
                <c:pt idx="0">
                  <c:v>29.73</c:v>
                </c:pt>
                <c:pt idx="1">
                  <c:v>55.93</c:v>
                </c:pt>
                <c:pt idx="2">
                  <c:v>39.38</c:v>
                </c:pt>
                <c:pt idx="4">
                  <c:v>4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
                </c:pt>
                <c:pt idx="4">
                  <c:v>IX 109</c:v>
                </c:pt>
                <c:pt idx="5">
                  <c:v/>
                </c:pt>
              </c:strCache>
            </c:strRef>
          </c:cat>
          <c:val>
            <c:numRef>
              <c:f>Sheet1!$D$2:$D$7</c:f>
              <c:numCache>
                <c:formatCode>General</c:formatCode>
                <c:ptCount val="6"/>
                <c:pt idx="0">
                  <c:v>75.95</c:v>
                </c:pt>
                <c:pt idx="1">
                  <c:v>130.45</c:v>
                </c:pt>
                <c:pt idx="2">
                  <c:v>125.63</c:v>
                </c:pt>
                <c:pt idx="3">
                  <c:v>116.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
                </c:pt>
                <c:pt idx="4">
                  <c:v>IX 109</c:v>
                </c:pt>
                <c:pt idx="5">
                  <c:v/>
                </c:pt>
              </c:strCache>
            </c:strRef>
          </c:cat>
          <c:val>
            <c:numRef>
              <c:f>Sheet1!$E$2:$E$7</c:f>
              <c:numCache>
                <c:formatCode>General</c:formatCode>
                <c:ptCount val="6"/>
                <c:pt idx="0">
                  <c:v>47.61</c:v>
                </c:pt>
                <c:pt idx="2">
                  <c:v>50.1</c:v>
                </c:pt>
                <c:pt idx="3">
                  <c:v>219.83</c:v>
                </c:pt>
                <c:pt idx="5">
                  <c:v>42.0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
                </c:pt>
                <c:pt idx="4">
                  <c:v>IX 109</c:v>
                </c:pt>
                <c:pt idx="5">
                  <c:v/>
                </c:pt>
              </c:strCache>
            </c:strRef>
          </c:cat>
          <c:val>
            <c:numRef>
              <c:f>Sheet1!$F$2:$F$7</c:f>
              <c:numCache>
                <c:formatCode>General</c:formatCode>
                <c:ptCount val="6"/>
                <c:pt idx="1">
                  <c:v>47.37</c:v>
                </c:pt>
                <c:pt idx="2">
                  <c:v>48.5</c:v>
                </c:pt>
                <c:pt idx="3">
                  <c:v>49.88</c:v>
                </c:pt>
                <c:pt idx="4">
                  <c:v>39.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0.3333"/>
          <c:min val="29.23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0</c:v>
                </c:pt>
                <c:pt idx="3">
                  <c:v/>
                </c:pt>
                <c:pt idx="4">
                  <c:v/>
                </c:pt>
                <c:pt idx="5">
                  <c:v>IX 107</c:v>
                </c:pt>
              </c:strCache>
            </c:strRef>
          </c:cat>
          <c:val>
            <c:numRef>
              <c:f>Sheet1!$B$2:$B$7</c:f>
              <c:numCache>
                <c:formatCode>General</c:formatCode>
                <c:ptCount val="6"/>
                <c:pt idx="0">
                  <c:v>55.95</c:v>
                </c:pt>
                <c:pt idx="1">
                  <c:v>111.73</c:v>
                </c:pt>
                <c:pt idx="2">
                  <c:v>93.71</c:v>
                </c:pt>
                <c:pt idx="3">
                  <c:v>215.57</c:v>
                </c:pt>
                <c:pt idx="4">
                  <c:v>45.17</c:v>
                </c:pt>
                <c:pt idx="5">
                  <c:v>40.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52</a:t>
                    </a:r>
                  </a:p>
                </c:rich>
              </c:tx>
              <c:dLblPos val="l"/>
              <c:showLegendKey val="0"/>
              <c:showVal val="1"/>
              <c:showCatName val="0"/>
              <c:showSerName val="0"/>
              <c:showPercent val="0"/>
              <c:showBubbleSize val="0"/>
            </c:dLbl>
            <c:dLbl>
              <c:idx val="1"/>
              <c:tx>
                <c:rich>
                  <a:bodyPr/>
                  <a:lstStyle/>
                  <a:p>
                    <a:r>
                      <a:t>IX 43</a:t>
                    </a:r>
                  </a:p>
                  <a:p>
                    <a:r>
                      <a:t>55.53</a:t>
                    </a:r>
                  </a:p>
                </c:rich>
              </c:tx>
              <c:dLblPos val="l"/>
              <c:showLegendKey val="0"/>
              <c:showVal val="1"/>
              <c:showCatName val="0"/>
              <c:showSerName val="0"/>
              <c:showPercent val="0"/>
              <c:showBubbleSize val="0"/>
            </c:dLbl>
            <c:dLbl>
              <c:idx val="2"/>
              <c:tx>
                <c:rich>
                  <a:bodyPr/>
                  <a:lstStyle/>
                  <a:p>
                    <a:r>
                      <a:t>IX 30</a:t>
                    </a:r>
                  </a:p>
                  <a:p>
                    <a:r>
                      <a:t>38.3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7</a:t>
                    </a:r>
                  </a:p>
                  <a:p>
                    <a:r>
                      <a:t>42.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0</c:v>
                </c:pt>
                <c:pt idx="3">
                  <c:v/>
                </c:pt>
                <c:pt idx="4">
                  <c:v/>
                </c:pt>
                <c:pt idx="5">
                  <c:v>IX 107</c:v>
                </c:pt>
              </c:strCache>
            </c:strRef>
          </c:cat>
          <c:val>
            <c:numRef>
              <c:f>Sheet1!$C$2:$C$7</c:f>
              <c:numCache>
                <c:formatCode>General</c:formatCode>
                <c:ptCount val="6"/>
                <c:pt idx="0">
                  <c:v>29.52</c:v>
                </c:pt>
                <c:pt idx="1">
                  <c:v>55.53</c:v>
                </c:pt>
                <c:pt idx="2">
                  <c:v>38.32</c:v>
                </c:pt>
                <c:pt idx="5">
                  <c:v>42.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0</c:v>
                </c:pt>
                <c:pt idx="3">
                  <c:v/>
                </c:pt>
                <c:pt idx="4">
                  <c:v/>
                </c:pt>
                <c:pt idx="5">
                  <c:v>IX 107</c:v>
                </c:pt>
              </c:strCache>
            </c:strRef>
          </c:cat>
          <c:val>
            <c:numRef>
              <c:f>Sheet1!$D$2:$D$7</c:f>
              <c:numCache>
                <c:formatCode>General</c:formatCode>
                <c:ptCount val="6"/>
                <c:pt idx="0">
                  <c:v>76.42</c:v>
                </c:pt>
                <c:pt idx="1">
                  <c:v>128.56</c:v>
                </c:pt>
                <c:pt idx="2">
                  <c:v>127.02</c:v>
                </c:pt>
                <c:pt idx="3">
                  <c:v>119.4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0</c:v>
                </c:pt>
                <c:pt idx="3">
                  <c:v/>
                </c:pt>
                <c:pt idx="4">
                  <c:v/>
                </c:pt>
                <c:pt idx="5">
                  <c:v>IX 107</c:v>
                </c:pt>
              </c:strCache>
            </c:strRef>
          </c:cat>
          <c:val>
            <c:numRef>
              <c:f>Sheet1!$E$2:$E$7</c:f>
              <c:numCache>
                <c:formatCode>General</c:formatCode>
                <c:ptCount val="6"/>
                <c:pt idx="0">
                  <c:v>58.29</c:v>
                </c:pt>
                <c:pt idx="1">
                  <c:v>142.06</c:v>
                </c:pt>
                <c:pt idx="2">
                  <c:v>106.8</c:v>
                </c:pt>
                <c:pt idx="3">
                  <c:v>82.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0</c:v>
                </c:pt>
                <c:pt idx="3">
                  <c:v/>
                </c:pt>
                <c:pt idx="4">
                  <c:v/>
                </c:pt>
                <c:pt idx="5">
                  <c:v>IX 107</c:v>
                </c:pt>
              </c:strCache>
            </c:strRef>
          </c:cat>
          <c:val>
            <c:numRef>
              <c:f>Sheet1!$F$2:$F$7</c:f>
              <c:numCache>
                <c:formatCode>General</c:formatCode>
                <c:ptCount val="6"/>
                <c:pt idx="1">
                  <c:v>47.6</c:v>
                </c:pt>
                <c:pt idx="2">
                  <c:v>47.87</c:v>
                </c:pt>
                <c:pt idx="3">
                  <c:v>49.78</c:v>
                </c:pt>
                <c:pt idx="5">
                  <c:v>39.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6.068"/>
          <c:min val="29.02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
                </c:pt>
                <c:pt idx="5">
                  <c:v>IX 104</c:v>
                </c:pt>
              </c:strCache>
            </c:strRef>
          </c:cat>
          <c:val>
            <c:numRef>
              <c:f>Sheet1!$B$2:$B$7</c:f>
              <c:numCache>
                <c:formatCode>General</c:formatCode>
                <c:ptCount val="6"/>
                <c:pt idx="0">
                  <c:v>54.52</c:v>
                </c:pt>
                <c:pt idx="1">
                  <c:v>106.99</c:v>
                </c:pt>
                <c:pt idx="2">
                  <c:v>77.27</c:v>
                </c:pt>
                <c:pt idx="3">
                  <c:v>184.57</c:v>
                </c:pt>
                <c:pt idx="4">
                  <c:v>44.23</c:v>
                </c:pt>
                <c:pt idx="5">
                  <c:v>39.7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8</a:t>
                    </a:r>
                  </a:p>
                  <a:p>
                    <a:r>
                      <a:t>29.32</a:t>
                    </a:r>
                  </a:p>
                </c:rich>
              </c:tx>
              <c:dLblPos val="l"/>
              <c:showLegendKey val="0"/>
              <c:showVal val="1"/>
              <c:showCatName val="0"/>
              <c:showSerName val="0"/>
              <c:showPercent val="0"/>
              <c:showBubbleSize val="0"/>
            </c:dLbl>
            <c:dLbl>
              <c:idx val="1"/>
              <c:tx>
                <c:rich>
                  <a:bodyPr/>
                  <a:lstStyle/>
                  <a:p>
                    <a:r>
                      <a:t>IX 43</a:t>
                    </a:r>
                  </a:p>
                  <a:p>
                    <a:r>
                      <a:t>56.33</a:t>
                    </a:r>
                  </a:p>
                </c:rich>
              </c:tx>
              <c:dLblPos val="l"/>
              <c:showLegendKey val="0"/>
              <c:showVal val="1"/>
              <c:showCatName val="0"/>
              <c:showSerName val="0"/>
              <c:showPercent val="0"/>
              <c:showBubbleSize val="0"/>
            </c:dLbl>
            <c:dLbl>
              <c:idx val="2"/>
              <c:tx>
                <c:rich>
                  <a:bodyPr/>
                  <a:lstStyle/>
                  <a:p>
                    <a:r>
                      <a:t>IX 30</a:t>
                    </a:r>
                  </a:p>
                  <a:p>
                    <a:r>
                      <a:t>38.1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4</a:t>
                    </a:r>
                  </a:p>
                  <a:p>
                    <a:r>
                      <a:t>40.9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
                </c:pt>
                <c:pt idx="5">
                  <c:v>IX 104</c:v>
                </c:pt>
              </c:strCache>
            </c:strRef>
          </c:cat>
          <c:val>
            <c:numRef>
              <c:f>Sheet1!$C$2:$C$7</c:f>
              <c:numCache>
                <c:formatCode>General</c:formatCode>
                <c:ptCount val="6"/>
                <c:pt idx="0">
                  <c:v>29.32</c:v>
                </c:pt>
                <c:pt idx="1">
                  <c:v>56.33</c:v>
                </c:pt>
                <c:pt idx="2">
                  <c:v>38.13</c:v>
                </c:pt>
                <c:pt idx="5">
                  <c:v>40.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
                </c:pt>
                <c:pt idx="5">
                  <c:v>IX 104</c:v>
                </c:pt>
              </c:strCache>
            </c:strRef>
          </c:cat>
          <c:val>
            <c:numRef>
              <c:f>Sheet1!$D$2:$D$7</c:f>
              <c:numCache>
                <c:formatCode>General</c:formatCode>
                <c:ptCount val="6"/>
                <c:pt idx="0">
                  <c:v>76.75</c:v>
                </c:pt>
                <c:pt idx="1">
                  <c:v>131.6</c:v>
                </c:pt>
                <c:pt idx="2">
                  <c:v>126.18</c:v>
                </c:pt>
                <c:pt idx="3">
                  <c:v>116.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
                </c:pt>
                <c:pt idx="5">
                  <c:v>IX 104</c:v>
                </c:pt>
              </c:strCache>
            </c:strRef>
          </c:cat>
          <c:val>
            <c:numRef>
              <c:f>Sheet1!$E$2:$E$7</c:f>
              <c:numCache>
                <c:formatCode>General</c:formatCode>
                <c:ptCount val="6"/>
                <c:pt idx="0">
                  <c:v>47.71</c:v>
                </c:pt>
                <c:pt idx="2">
                  <c:v>51.67</c:v>
                </c:pt>
                <c:pt idx="4">
                  <c:v>4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
                </c:pt>
                <c:pt idx="5">
                  <c:v>IX 104</c:v>
                </c:pt>
              </c:strCache>
            </c:strRef>
          </c:cat>
          <c:val>
            <c:numRef>
              <c:f>Sheet1!$F$2:$F$7</c:f>
              <c:numCache>
                <c:formatCode>General</c:formatCode>
                <c:ptCount val="6"/>
                <c:pt idx="1">
                  <c:v>47.48</c:v>
                </c:pt>
                <c:pt idx="2">
                  <c:v>49.06</c:v>
                </c:pt>
                <c:pt idx="3">
                  <c:v>49.47</c:v>
                </c:pt>
                <c:pt idx="5">
                  <c:v>3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0665"/>
          <c:min val="28.82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B$2:$B$7</c:f>
              <c:numCache>
                <c:formatCode>General</c:formatCode>
                <c:ptCount val="6"/>
                <c:pt idx="0">
                  <c:v>52.75</c:v>
                </c:pt>
                <c:pt idx="1">
                  <c:v>99.0</c:v>
                </c:pt>
                <c:pt idx="2">
                  <c:v>76.94</c:v>
                </c:pt>
                <c:pt idx="3">
                  <c:v>40.04</c:v>
                </c:pt>
                <c:pt idx="4">
                  <c:v>44.46</c:v>
                </c:pt>
                <c:pt idx="5">
                  <c:v>178.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57</a:t>
                    </a:r>
                  </a:p>
                </c:rich>
              </c:tx>
              <c:dLblPos val="l"/>
              <c:showLegendKey val="0"/>
              <c:showVal val="1"/>
              <c:showCatName val="0"/>
              <c:showSerName val="0"/>
              <c:showPercent val="0"/>
              <c:showBubbleSize val="0"/>
            </c:dLbl>
            <c:dLbl>
              <c:idx val="1"/>
              <c:tx>
                <c:rich>
                  <a:bodyPr/>
                  <a:lstStyle/>
                  <a:p>
                    <a:r>
                      <a:t>IX 42</a:t>
                    </a:r>
                  </a:p>
                  <a:p>
                    <a:r>
                      <a:t>54.21</a:t>
                    </a:r>
                  </a:p>
                </c:rich>
              </c:tx>
              <c:dLblPos val="l"/>
              <c:showLegendKey val="0"/>
              <c:showVal val="1"/>
              <c:showCatName val="0"/>
              <c:showSerName val="0"/>
              <c:showPercent val="0"/>
              <c:showBubbleSize val="0"/>
            </c:dLbl>
            <c:dLbl>
              <c:idx val="2"/>
              <c:tx>
                <c:rich>
                  <a:bodyPr/>
                  <a:lstStyle/>
                  <a:p>
                    <a:r>
                      <a:t>IX 31</a:t>
                    </a:r>
                  </a:p>
                  <a:p>
                    <a:r>
                      <a:t>38.41</a:t>
                    </a:r>
                  </a:p>
                </c:rich>
              </c:tx>
              <c:dLblPos val="l"/>
              <c:showLegendKey val="0"/>
              <c:showVal val="1"/>
              <c:showCatName val="0"/>
              <c:showSerName val="0"/>
              <c:showPercent val="0"/>
              <c:showBubbleSize val="0"/>
            </c:dLbl>
            <c:dLbl>
              <c:idx val="3"/>
              <c:tx>
                <c:rich>
                  <a:bodyPr/>
                  <a:lstStyle/>
                  <a:p>
                    <a:r>
                      <a:t>IX 111</a:t>
                    </a:r>
                  </a:p>
                  <a:p>
                    <a:r>
                      <a:t>43.9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C$2:$C$7</c:f>
              <c:numCache>
                <c:formatCode>General</c:formatCode>
                <c:ptCount val="6"/>
                <c:pt idx="0">
                  <c:v>29.57</c:v>
                </c:pt>
                <c:pt idx="1">
                  <c:v>54.21</c:v>
                </c:pt>
                <c:pt idx="2">
                  <c:v>38.41</c:v>
                </c:pt>
                <c:pt idx="3">
                  <c:v>43.9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D$2:$D$7</c:f>
              <c:numCache>
                <c:formatCode>General</c:formatCode>
                <c:ptCount val="6"/>
                <c:pt idx="0">
                  <c:v>75.3</c:v>
                </c:pt>
                <c:pt idx="1">
                  <c:v>130.14</c:v>
                </c:pt>
                <c:pt idx="2">
                  <c:v>123.57</c:v>
                </c:pt>
                <c:pt idx="5">
                  <c:v>123.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E$2:$E$7</c:f>
              <c:numCache>
                <c:formatCode>General</c:formatCode>
                <c:ptCount val="6"/>
                <c:pt idx="0">
                  <c:v>46.45</c:v>
                </c:pt>
                <c:pt idx="2">
                  <c:v>49.95</c:v>
                </c:pt>
                <c:pt idx="4">
                  <c:v>41.6</c:v>
                </c:pt>
                <c:pt idx="5">
                  <c:v>284.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F$2:$F$7</c:f>
              <c:numCache>
                <c:formatCode>General</c:formatCode>
                <c:ptCount val="6"/>
                <c:pt idx="0">
                  <c:v>73.33</c:v>
                </c:pt>
                <c:pt idx="1">
                  <c:v>47.02</c:v>
                </c:pt>
                <c:pt idx="2">
                  <c:v>47.99</c:v>
                </c:pt>
                <c:pt idx="3">
                  <c:v>39.56</c:v>
                </c:pt>
                <c:pt idx="4">
                  <c:v>29.0</c:v>
                </c:pt>
                <c:pt idx="5">
                  <c:v>49.4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5.0"/>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IX 110</c:v>
                </c:pt>
                <c:pt idx="5">
                  <c:v/>
                </c:pt>
              </c:strCache>
            </c:strRef>
          </c:cat>
          <c:val>
            <c:numRef>
              <c:f>Sheet1!$B$2:$B$7</c:f>
              <c:numCache>
                <c:formatCode>General</c:formatCode>
                <c:ptCount val="6"/>
                <c:pt idx="0">
                  <c:v>52.98</c:v>
                </c:pt>
                <c:pt idx="1">
                  <c:v>106.74</c:v>
                </c:pt>
                <c:pt idx="2">
                  <c:v>77.96</c:v>
                </c:pt>
                <c:pt idx="3">
                  <c:v>225.28</c:v>
                </c:pt>
                <c:pt idx="4">
                  <c:v>39.92</c:v>
                </c:pt>
                <c:pt idx="5">
                  <c:v>44.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8</a:t>
                    </a:r>
                  </a:p>
                  <a:p>
                    <a:r>
                      <a:t>29.34</a:t>
                    </a:r>
                  </a:p>
                </c:rich>
              </c:tx>
              <c:dLblPos val="l"/>
              <c:showLegendKey val="0"/>
              <c:showVal val="1"/>
              <c:showCatName val="0"/>
              <c:showSerName val="0"/>
              <c:showPercent val="0"/>
              <c:showBubbleSize val="0"/>
            </c:dLbl>
            <c:dLbl>
              <c:idx val="1"/>
              <c:tx>
                <c:rich>
                  <a:bodyPr/>
                  <a:lstStyle/>
                  <a:p>
                    <a:r>
                      <a:t>IX 43</a:t>
                    </a:r>
                  </a:p>
                  <a:p>
                    <a:r>
                      <a:t>55.79</a:t>
                    </a:r>
                  </a:p>
                </c:rich>
              </c:tx>
              <c:dLblPos val="l"/>
              <c:showLegendKey val="0"/>
              <c:showVal val="1"/>
              <c:showCatName val="0"/>
              <c:showSerName val="0"/>
              <c:showPercent val="0"/>
              <c:showBubbleSize val="0"/>
            </c:dLbl>
            <c:dLbl>
              <c:idx val="2"/>
              <c:tx>
                <c:rich>
                  <a:bodyPr/>
                  <a:lstStyle/>
                  <a:p>
                    <a:r>
                      <a:t>IX 30</a:t>
                    </a:r>
                  </a:p>
                  <a:p>
                    <a:r>
                      <a:t>38.0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0</a:t>
                    </a:r>
                  </a:p>
                  <a:p>
                    <a:r>
                      <a:t>43.0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IX 110</c:v>
                </c:pt>
                <c:pt idx="5">
                  <c:v/>
                </c:pt>
              </c:strCache>
            </c:strRef>
          </c:cat>
          <c:val>
            <c:numRef>
              <c:f>Sheet1!$C$2:$C$7</c:f>
              <c:numCache>
                <c:formatCode>General</c:formatCode>
                <c:ptCount val="6"/>
                <c:pt idx="0">
                  <c:v>29.34</c:v>
                </c:pt>
                <c:pt idx="1">
                  <c:v>55.79</c:v>
                </c:pt>
                <c:pt idx="2">
                  <c:v>38.02</c:v>
                </c:pt>
                <c:pt idx="4">
                  <c:v>43.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IX 110</c:v>
                </c:pt>
                <c:pt idx="5">
                  <c:v/>
                </c:pt>
              </c:strCache>
            </c:strRef>
          </c:cat>
          <c:val>
            <c:numRef>
              <c:f>Sheet1!$D$2:$D$7</c:f>
              <c:numCache>
                <c:formatCode>General</c:formatCode>
                <c:ptCount val="6"/>
                <c:pt idx="0">
                  <c:v>76.41</c:v>
                </c:pt>
                <c:pt idx="1">
                  <c:v>130.68</c:v>
                </c:pt>
                <c:pt idx="2">
                  <c:v>124.77</c:v>
                </c:pt>
                <c:pt idx="3">
                  <c:v>117.5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IX 110</c:v>
                </c:pt>
                <c:pt idx="5">
                  <c:v/>
                </c:pt>
              </c:strCache>
            </c:strRef>
          </c:cat>
          <c:val>
            <c:numRef>
              <c:f>Sheet1!$E$2:$E$7</c:f>
              <c:numCache>
                <c:formatCode>General</c:formatCode>
                <c:ptCount val="6"/>
                <c:pt idx="0">
                  <c:v>58.04</c:v>
                </c:pt>
                <c:pt idx="1">
                  <c:v>144.41</c:v>
                </c:pt>
                <c:pt idx="2">
                  <c:v>109.48</c:v>
                </c:pt>
                <c:pt idx="3">
                  <c:v>78.7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IX 110</c:v>
                </c:pt>
                <c:pt idx="5">
                  <c:v/>
                </c:pt>
              </c:strCache>
            </c:strRef>
          </c:cat>
          <c:val>
            <c:numRef>
              <c:f>Sheet1!$F$2:$F$7</c:f>
              <c:numCache>
                <c:formatCode>General</c:formatCode>
                <c:ptCount val="6"/>
                <c:pt idx="1">
                  <c:v>47.32</c:v>
                </c:pt>
                <c:pt idx="2">
                  <c:v>48.96</c:v>
                </c:pt>
                <c:pt idx="3">
                  <c:v>49.31</c:v>
                </c:pt>
                <c:pt idx="4">
                  <c:v>39.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7834"/>
          <c:min val="28.84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4</c:v>
                </c:pt>
                <c:pt idx="2">
                  <c:v>IX 31</c:v>
                </c:pt>
                <c:pt idx="3">
                  <c:v/>
                </c:pt>
                <c:pt idx="4">
                  <c:v>IX 114</c:v>
                </c:pt>
                <c:pt idx="5">
                  <c:v/>
                </c:pt>
              </c:strCache>
            </c:strRef>
          </c:cat>
          <c:val>
            <c:numRef>
              <c:f>Sheet1!$B$2:$B$7</c:f>
              <c:numCache>
                <c:formatCode>General</c:formatCode>
                <c:ptCount val="6"/>
                <c:pt idx="0">
                  <c:v>53.69</c:v>
                </c:pt>
                <c:pt idx="1">
                  <c:v>98.81</c:v>
                </c:pt>
                <c:pt idx="2">
                  <c:v>73.64</c:v>
                </c:pt>
                <c:pt idx="3">
                  <c:v>187.1</c:v>
                </c:pt>
                <c:pt idx="4">
                  <c:v>39.97</c:v>
                </c:pt>
                <c:pt idx="5">
                  <c:v>44.3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30.22</a:t>
                    </a:r>
                  </a:p>
                </c:rich>
              </c:tx>
              <c:dLblPos val="l"/>
              <c:showLegendKey val="0"/>
              <c:showVal val="1"/>
              <c:showCatName val="0"/>
              <c:showSerName val="0"/>
              <c:showPercent val="0"/>
              <c:showBubbleSize val="0"/>
            </c:dLbl>
            <c:dLbl>
              <c:idx val="1"/>
              <c:tx>
                <c:rich>
                  <a:bodyPr/>
                  <a:lstStyle/>
                  <a:p>
                    <a:r>
                      <a:t>IX 44</a:t>
                    </a:r>
                  </a:p>
                  <a:p>
                    <a:r>
                      <a:t>58.06</a:t>
                    </a:r>
                  </a:p>
                </c:rich>
              </c:tx>
              <c:dLblPos val="l"/>
              <c:showLegendKey val="0"/>
              <c:showVal val="1"/>
              <c:showCatName val="0"/>
              <c:showSerName val="0"/>
              <c:showPercent val="0"/>
              <c:showBubbleSize val="0"/>
            </c:dLbl>
            <c:dLbl>
              <c:idx val="2"/>
              <c:tx>
                <c:rich>
                  <a:bodyPr/>
                  <a:lstStyle/>
                  <a:p>
                    <a:r>
                      <a:t>IX 31</a:t>
                    </a:r>
                  </a:p>
                  <a:p>
                    <a:r>
                      <a:t>38.4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4</a:t>
                    </a:r>
                  </a:p>
                  <a:p>
                    <a:r>
                      <a:t>44.8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4</c:v>
                </c:pt>
                <c:pt idx="2">
                  <c:v>IX 31</c:v>
                </c:pt>
                <c:pt idx="3">
                  <c:v/>
                </c:pt>
                <c:pt idx="4">
                  <c:v>IX 114</c:v>
                </c:pt>
                <c:pt idx="5">
                  <c:v/>
                </c:pt>
              </c:strCache>
            </c:strRef>
          </c:cat>
          <c:val>
            <c:numRef>
              <c:f>Sheet1!$C$2:$C$7</c:f>
              <c:numCache>
                <c:formatCode>General</c:formatCode>
                <c:ptCount val="6"/>
                <c:pt idx="0">
                  <c:v>30.22</c:v>
                </c:pt>
                <c:pt idx="1">
                  <c:v>58.06</c:v>
                </c:pt>
                <c:pt idx="2">
                  <c:v>38.42</c:v>
                </c:pt>
                <c:pt idx="4">
                  <c:v>44.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4</c:v>
                </c:pt>
                <c:pt idx="2">
                  <c:v>IX 31</c:v>
                </c:pt>
                <c:pt idx="3">
                  <c:v/>
                </c:pt>
                <c:pt idx="4">
                  <c:v>IX 114</c:v>
                </c:pt>
                <c:pt idx="5">
                  <c:v/>
                </c:pt>
              </c:strCache>
            </c:strRef>
          </c:cat>
          <c:val>
            <c:numRef>
              <c:f>Sheet1!$D$2:$D$7</c:f>
              <c:numCache>
                <c:formatCode>General</c:formatCode>
                <c:ptCount val="6"/>
                <c:pt idx="0">
                  <c:v>75.78</c:v>
                </c:pt>
                <c:pt idx="1">
                  <c:v>132.47</c:v>
                </c:pt>
                <c:pt idx="2">
                  <c:v>124.37</c:v>
                </c:pt>
                <c:pt idx="3">
                  <c:v>115.7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4</c:v>
                </c:pt>
                <c:pt idx="2">
                  <c:v>IX 31</c:v>
                </c:pt>
                <c:pt idx="3">
                  <c:v/>
                </c:pt>
                <c:pt idx="4">
                  <c:v>IX 114</c:v>
                </c:pt>
                <c:pt idx="5">
                  <c:v/>
                </c:pt>
              </c:strCache>
            </c:strRef>
          </c:cat>
          <c:val>
            <c:numRef>
              <c:f>Sheet1!$E$2:$E$7</c:f>
              <c:numCache>
                <c:formatCode>General</c:formatCode>
                <c:ptCount val="6"/>
                <c:pt idx="0">
                  <c:v>47.65</c:v>
                </c:pt>
                <c:pt idx="2">
                  <c:v>50.93</c:v>
                </c:pt>
                <c:pt idx="5">
                  <c:v>41.8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4</c:v>
                </c:pt>
                <c:pt idx="2">
                  <c:v>IX 31</c:v>
                </c:pt>
                <c:pt idx="3">
                  <c:v/>
                </c:pt>
                <c:pt idx="4">
                  <c:v>IX 114</c:v>
                </c:pt>
                <c:pt idx="5">
                  <c:v/>
                </c:pt>
              </c:strCache>
            </c:strRef>
          </c:cat>
          <c:val>
            <c:numRef>
              <c:f>Sheet1!$F$2:$F$7</c:f>
              <c:numCache>
                <c:formatCode>General</c:formatCode>
                <c:ptCount val="6"/>
                <c:pt idx="1">
                  <c:v>46.99</c:v>
                </c:pt>
                <c:pt idx="2">
                  <c:v>48.79</c:v>
                </c:pt>
                <c:pt idx="3">
                  <c:v>50.55</c:v>
                </c:pt>
                <c:pt idx="4">
                  <c:v>39.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7.5982"/>
          <c:min val="29.71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0</c:v>
                </c:pt>
                <c:pt idx="3">
                  <c:v>IX 111</c:v>
                </c:pt>
                <c:pt idx="4">
                  <c:v/>
                </c:pt>
                <c:pt idx="5">
                  <c:v/>
                </c:pt>
              </c:strCache>
            </c:strRef>
          </c:cat>
          <c:val>
            <c:numRef>
              <c:f>Sheet1!$B$2:$B$7</c:f>
              <c:numCache>
                <c:formatCode>General</c:formatCode>
                <c:ptCount val="6"/>
                <c:pt idx="0">
                  <c:v>49.77</c:v>
                </c:pt>
                <c:pt idx="1">
                  <c:v>92.62</c:v>
                </c:pt>
                <c:pt idx="2">
                  <c:v>69.88</c:v>
                </c:pt>
                <c:pt idx="3">
                  <c:v>40.12</c:v>
                </c:pt>
                <c:pt idx="4">
                  <c:v>189.12</c:v>
                </c:pt>
                <c:pt idx="5">
                  <c:v>43.9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23</a:t>
                    </a:r>
                  </a:p>
                </c:rich>
              </c:tx>
              <c:dLblPos val="l"/>
              <c:showLegendKey val="0"/>
              <c:showVal val="1"/>
              <c:showCatName val="0"/>
              <c:showSerName val="0"/>
              <c:showPercent val="0"/>
              <c:showBubbleSize val="0"/>
            </c:dLbl>
            <c:dLbl>
              <c:idx val="1"/>
              <c:tx>
                <c:rich>
                  <a:bodyPr/>
                  <a:lstStyle/>
                  <a:p>
                    <a:r>
                      <a:t>IX 42</a:t>
                    </a:r>
                  </a:p>
                  <a:p>
                    <a:r>
                      <a:t>55.5</a:t>
                    </a:r>
                  </a:p>
                </c:rich>
              </c:tx>
              <c:dLblPos val="l"/>
              <c:showLegendKey val="0"/>
              <c:showVal val="1"/>
              <c:showCatName val="0"/>
              <c:showSerName val="0"/>
              <c:showPercent val="0"/>
              <c:showBubbleSize val="0"/>
            </c:dLbl>
            <c:dLbl>
              <c:idx val="2"/>
              <c:tx>
                <c:rich>
                  <a:bodyPr/>
                  <a:lstStyle/>
                  <a:p>
                    <a:r>
                      <a:t>IX 30</a:t>
                    </a:r>
                  </a:p>
                  <a:p>
                    <a:r>
                      <a:t>37.24</a:t>
                    </a:r>
                  </a:p>
                </c:rich>
              </c:tx>
              <c:dLblPos val="l"/>
              <c:showLegendKey val="0"/>
              <c:showVal val="1"/>
              <c:showCatName val="0"/>
              <c:showSerName val="0"/>
              <c:showPercent val="0"/>
              <c:showBubbleSize val="0"/>
            </c:dLbl>
            <c:dLbl>
              <c:idx val="3"/>
              <c:tx>
                <c:rich>
                  <a:bodyPr/>
                  <a:lstStyle/>
                  <a:p>
                    <a:r>
                      <a:t>IX 111</a:t>
                    </a:r>
                  </a:p>
                  <a:p>
                    <a:r>
                      <a:t>43.54</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0</c:v>
                </c:pt>
                <c:pt idx="3">
                  <c:v>IX 111</c:v>
                </c:pt>
                <c:pt idx="4">
                  <c:v/>
                </c:pt>
                <c:pt idx="5">
                  <c:v/>
                </c:pt>
              </c:strCache>
            </c:strRef>
          </c:cat>
          <c:val>
            <c:numRef>
              <c:f>Sheet1!$C$2:$C$7</c:f>
              <c:numCache>
                <c:formatCode>General</c:formatCode>
                <c:ptCount val="6"/>
                <c:pt idx="0">
                  <c:v>29.23</c:v>
                </c:pt>
                <c:pt idx="1">
                  <c:v>55.5</c:v>
                </c:pt>
                <c:pt idx="2">
                  <c:v>37.24</c:v>
                </c:pt>
                <c:pt idx="3">
                  <c:v>43.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0</c:v>
                </c:pt>
                <c:pt idx="3">
                  <c:v>IX 111</c:v>
                </c:pt>
                <c:pt idx="4">
                  <c:v/>
                </c:pt>
                <c:pt idx="5">
                  <c:v/>
                </c:pt>
              </c:strCache>
            </c:strRef>
          </c:cat>
          <c:val>
            <c:numRef>
              <c:f>Sheet1!$D$2:$D$7</c:f>
              <c:numCache>
                <c:formatCode>General</c:formatCode>
                <c:ptCount val="6"/>
                <c:pt idx="0">
                  <c:v>75.5</c:v>
                </c:pt>
                <c:pt idx="1">
                  <c:v>130.85</c:v>
                </c:pt>
                <c:pt idx="2">
                  <c:v>123.72</c:v>
                </c:pt>
                <c:pt idx="4">
                  <c:v>110.3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0</c:v>
                </c:pt>
                <c:pt idx="3">
                  <c:v>IX 111</c:v>
                </c:pt>
                <c:pt idx="4">
                  <c:v/>
                </c:pt>
                <c:pt idx="5">
                  <c:v/>
                </c:pt>
              </c:strCache>
            </c:strRef>
          </c:cat>
          <c:val>
            <c:numRef>
              <c:f>Sheet1!$E$2:$E$7</c:f>
              <c:numCache>
                <c:formatCode>General</c:formatCode>
                <c:ptCount val="6"/>
                <c:pt idx="0">
                  <c:v>48.5</c:v>
                </c:pt>
                <c:pt idx="2">
                  <c:v>49.39</c:v>
                </c:pt>
                <c:pt idx="5">
                  <c:v>42.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0</c:v>
                </c:pt>
                <c:pt idx="3">
                  <c:v>IX 111</c:v>
                </c:pt>
                <c:pt idx="4">
                  <c:v/>
                </c:pt>
                <c:pt idx="5">
                  <c:v/>
                </c:pt>
              </c:strCache>
            </c:strRef>
          </c:cat>
          <c:val>
            <c:numRef>
              <c:f>Sheet1!$F$2:$F$7</c:f>
              <c:numCache>
                <c:formatCode>General</c:formatCode>
                <c:ptCount val="6"/>
                <c:pt idx="1">
                  <c:v>46.85</c:v>
                </c:pt>
                <c:pt idx="2">
                  <c:v>49.05</c:v>
                </c:pt>
                <c:pt idx="3">
                  <c:v>39.3</c:v>
                </c:pt>
                <c:pt idx="4">
                  <c:v>49.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9.625"/>
          <c:min val="28.72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3</c:v>
                </c:pt>
                <c:pt idx="2">
                  <c:v>IX 29</c:v>
                </c:pt>
                <c:pt idx="3">
                  <c:v/>
                </c:pt>
                <c:pt idx="4">
                  <c:v>IX 111</c:v>
                </c:pt>
                <c:pt idx="5">
                  <c:v/>
                </c:pt>
              </c:strCache>
            </c:strRef>
          </c:cat>
          <c:val>
            <c:numRef>
              <c:f>Sheet1!$B$2:$B$7</c:f>
              <c:numCache>
                <c:formatCode>General</c:formatCode>
                <c:ptCount val="6"/>
                <c:pt idx="0">
                  <c:v>50.0</c:v>
                </c:pt>
                <c:pt idx="1">
                  <c:v>64.12</c:v>
                </c:pt>
                <c:pt idx="2">
                  <c:v>64.33</c:v>
                </c:pt>
                <c:pt idx="3">
                  <c:v>144.42</c:v>
                </c:pt>
                <c:pt idx="4">
                  <c:v>39.54</c:v>
                </c:pt>
                <c:pt idx="5">
                  <c:v>43.7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7</a:t>
                    </a:r>
                  </a:p>
                  <a:p>
                    <a:r>
                      <a:t>28.64</a:t>
                    </a:r>
                  </a:p>
                </c:rich>
              </c:tx>
              <c:dLblPos val="l"/>
              <c:showLegendKey val="0"/>
              <c:showVal val="1"/>
              <c:showCatName val="0"/>
              <c:showSerName val="0"/>
              <c:showPercent val="0"/>
              <c:showBubbleSize val="0"/>
            </c:dLbl>
            <c:dLbl>
              <c:idx val="1"/>
              <c:tx>
                <c:rich>
                  <a:bodyPr/>
                  <a:lstStyle/>
                  <a:p>
                    <a:r>
                      <a:t>IX 43</a:t>
                    </a:r>
                  </a:p>
                  <a:p>
                    <a:r>
                      <a:t>57.2</a:t>
                    </a:r>
                  </a:p>
                </c:rich>
              </c:tx>
              <c:dLblPos val="l"/>
              <c:showLegendKey val="0"/>
              <c:showVal val="1"/>
              <c:showCatName val="0"/>
              <c:showSerName val="0"/>
              <c:showPercent val="0"/>
              <c:showBubbleSize val="0"/>
            </c:dLbl>
            <c:dLbl>
              <c:idx val="2"/>
              <c:tx>
                <c:rich>
                  <a:bodyPr/>
                  <a:lstStyle/>
                  <a:p>
                    <a:r>
                      <a:t>IX 29</a:t>
                    </a:r>
                  </a:p>
                  <a:p>
                    <a:r>
                      <a:t>35.6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1</a:t>
                    </a:r>
                  </a:p>
                  <a:p>
                    <a:r>
                      <a:t>43.1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3</c:v>
                </c:pt>
                <c:pt idx="2">
                  <c:v>IX 29</c:v>
                </c:pt>
                <c:pt idx="3">
                  <c:v/>
                </c:pt>
                <c:pt idx="4">
                  <c:v>IX 111</c:v>
                </c:pt>
                <c:pt idx="5">
                  <c:v/>
                </c:pt>
              </c:strCache>
            </c:strRef>
          </c:cat>
          <c:val>
            <c:numRef>
              <c:f>Sheet1!$C$2:$C$7</c:f>
              <c:numCache>
                <c:formatCode>General</c:formatCode>
                <c:ptCount val="6"/>
                <c:pt idx="0">
                  <c:v>28.64</c:v>
                </c:pt>
                <c:pt idx="1">
                  <c:v>57.2</c:v>
                </c:pt>
                <c:pt idx="2">
                  <c:v>35.69</c:v>
                </c:pt>
                <c:pt idx="4">
                  <c:v>4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3</c:v>
                </c:pt>
                <c:pt idx="2">
                  <c:v>IX 29</c:v>
                </c:pt>
                <c:pt idx="3">
                  <c:v/>
                </c:pt>
                <c:pt idx="4">
                  <c:v>IX 111</c:v>
                </c:pt>
                <c:pt idx="5">
                  <c:v/>
                </c:pt>
              </c:strCache>
            </c:strRef>
          </c:cat>
          <c:val>
            <c:numRef>
              <c:f>Sheet1!$D$2:$D$7</c:f>
              <c:numCache>
                <c:formatCode>General</c:formatCode>
                <c:ptCount val="6"/>
                <c:pt idx="0">
                  <c:v>76.4</c:v>
                </c:pt>
                <c:pt idx="1">
                  <c:v>132.02</c:v>
                </c:pt>
                <c:pt idx="2">
                  <c:v>123.5</c:v>
                </c:pt>
                <c:pt idx="3">
                  <c:v>113.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3</c:v>
                </c:pt>
                <c:pt idx="2">
                  <c:v>IX 29</c:v>
                </c:pt>
                <c:pt idx="3">
                  <c:v/>
                </c:pt>
                <c:pt idx="4">
                  <c:v>IX 111</c:v>
                </c:pt>
                <c:pt idx="5">
                  <c:v/>
                </c:pt>
              </c:strCache>
            </c:strRef>
          </c:cat>
          <c:val>
            <c:numRef>
              <c:f>Sheet1!$E$2:$E$7</c:f>
              <c:numCache>
                <c:formatCode>General</c:formatCode>
                <c:ptCount val="6"/>
                <c:pt idx="0">
                  <c:v>46.54</c:v>
                </c:pt>
                <c:pt idx="2">
                  <c:v>46.89</c:v>
                </c:pt>
                <c:pt idx="5">
                  <c:v>41.4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3</c:v>
                </c:pt>
                <c:pt idx="2">
                  <c:v>IX 29</c:v>
                </c:pt>
                <c:pt idx="3">
                  <c:v/>
                </c:pt>
                <c:pt idx="4">
                  <c:v>IX 111</c:v>
                </c:pt>
                <c:pt idx="5">
                  <c:v/>
                </c:pt>
              </c:strCache>
            </c:strRef>
          </c:cat>
          <c:val>
            <c:numRef>
              <c:f>Sheet1!$F$2:$F$7</c:f>
              <c:numCache>
                <c:formatCode>General</c:formatCode>
                <c:ptCount val="6"/>
                <c:pt idx="1">
                  <c:v>47.71</c:v>
                </c:pt>
                <c:pt idx="2">
                  <c:v>48.2</c:v>
                </c:pt>
                <c:pt idx="3">
                  <c:v>49.24</c:v>
                </c:pt>
                <c:pt idx="4">
                  <c:v>38.9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4.9168"/>
          <c:min val="28.13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
                </c:pt>
                <c:pt idx="4">
                  <c:v>IX 112</c:v>
                </c:pt>
                <c:pt idx="5">
                  <c:v/>
                </c:pt>
              </c:strCache>
            </c:strRef>
          </c:cat>
          <c:val>
            <c:numRef>
              <c:f>Sheet1!$B$2:$B$7</c:f>
              <c:numCache>
                <c:formatCode>General</c:formatCode>
                <c:ptCount val="6"/>
                <c:pt idx="0">
                  <c:v>53.78</c:v>
                </c:pt>
                <c:pt idx="1">
                  <c:v>103.52</c:v>
                </c:pt>
                <c:pt idx="2">
                  <c:v>86.6</c:v>
                </c:pt>
                <c:pt idx="3">
                  <c:v>208.25</c:v>
                </c:pt>
                <c:pt idx="4">
                  <c:v>39.92</c:v>
                </c:pt>
                <c:pt idx="5">
                  <c:v>44.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45</a:t>
                    </a:r>
                  </a:p>
                </c:rich>
              </c:tx>
              <c:dLblPos val="l"/>
              <c:showLegendKey val="0"/>
              <c:showVal val="1"/>
              <c:showCatName val="0"/>
              <c:showSerName val="0"/>
              <c:showPercent val="0"/>
              <c:showBubbleSize val="0"/>
            </c:dLbl>
            <c:dLbl>
              <c:idx val="1"/>
              <c:tx>
                <c:rich>
                  <a:bodyPr/>
                  <a:lstStyle/>
                  <a:p>
                    <a:r>
                      <a:t>IX 41</a:t>
                    </a:r>
                  </a:p>
                  <a:p>
                    <a:r>
                      <a:t>54.57</a:t>
                    </a:r>
                  </a:p>
                </c:rich>
              </c:tx>
              <c:dLblPos val="l"/>
              <c:showLegendKey val="0"/>
              <c:showVal val="1"/>
              <c:showCatName val="0"/>
              <c:showSerName val="0"/>
              <c:showPercent val="0"/>
              <c:showBubbleSize val="0"/>
            </c:dLbl>
            <c:dLbl>
              <c:idx val="2"/>
              <c:tx>
                <c:rich>
                  <a:bodyPr/>
                  <a:lstStyle/>
                  <a:p>
                    <a:r>
                      <a:t>IX 30</a:t>
                    </a:r>
                  </a:p>
                  <a:p>
                    <a:r>
                      <a:t>37.9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2</a:t>
                    </a:r>
                  </a:p>
                  <a:p>
                    <a:r>
                      <a:t>43.9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
                </c:pt>
                <c:pt idx="4">
                  <c:v>IX 112</c:v>
                </c:pt>
                <c:pt idx="5">
                  <c:v/>
                </c:pt>
              </c:strCache>
            </c:strRef>
          </c:cat>
          <c:val>
            <c:numRef>
              <c:f>Sheet1!$C$2:$C$7</c:f>
              <c:numCache>
                <c:formatCode>General</c:formatCode>
                <c:ptCount val="6"/>
                <c:pt idx="0">
                  <c:v>29.45</c:v>
                </c:pt>
                <c:pt idx="1">
                  <c:v>54.57</c:v>
                </c:pt>
                <c:pt idx="2">
                  <c:v>37.91</c:v>
                </c:pt>
                <c:pt idx="4">
                  <c:v>43.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
                </c:pt>
                <c:pt idx="4">
                  <c:v>IX 112</c:v>
                </c:pt>
                <c:pt idx="5">
                  <c:v/>
                </c:pt>
              </c:strCache>
            </c:strRef>
          </c:cat>
          <c:val>
            <c:numRef>
              <c:f>Sheet1!$D$2:$D$7</c:f>
              <c:numCache>
                <c:formatCode>General</c:formatCode>
                <c:ptCount val="6"/>
                <c:pt idx="0">
                  <c:v>76.03</c:v>
                </c:pt>
                <c:pt idx="1">
                  <c:v>131.63</c:v>
                </c:pt>
                <c:pt idx="2">
                  <c:v>125.16</c:v>
                </c:pt>
                <c:pt idx="3">
                  <c:v>123.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
                </c:pt>
                <c:pt idx="4">
                  <c:v>IX 112</c:v>
                </c:pt>
                <c:pt idx="5">
                  <c:v/>
                </c:pt>
              </c:strCache>
            </c:strRef>
          </c:cat>
          <c:val>
            <c:numRef>
              <c:f>Sheet1!$E$2:$E$7</c:f>
              <c:numCache>
                <c:formatCode>General</c:formatCode>
                <c:ptCount val="6"/>
                <c:pt idx="0">
                  <c:v>58.21</c:v>
                </c:pt>
                <c:pt idx="1">
                  <c:v>147.25</c:v>
                </c:pt>
                <c:pt idx="2">
                  <c:v>107.15</c:v>
                </c:pt>
                <c:pt idx="3">
                  <c:v>83.2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
                </c:pt>
                <c:pt idx="4">
                  <c:v>IX 112</c:v>
                </c:pt>
                <c:pt idx="5">
                  <c:v/>
                </c:pt>
              </c:strCache>
            </c:strRef>
          </c:cat>
          <c:val>
            <c:numRef>
              <c:f>Sheet1!$F$2:$F$7</c:f>
              <c:numCache>
                <c:formatCode>General</c:formatCode>
                <c:ptCount val="6"/>
                <c:pt idx="1">
                  <c:v>47.02</c:v>
                </c:pt>
                <c:pt idx="2">
                  <c:v>47.94</c:v>
                </c:pt>
                <c:pt idx="3">
                  <c:v>49.56</c:v>
                </c:pt>
                <c:pt idx="4">
                  <c:v>39.3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8.7547"/>
          <c:min val="28.94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B$2:$B$7</c:f>
              <c:numCache>
                <c:formatCode>General</c:formatCode>
                <c:ptCount val="6"/>
                <c:pt idx="0">
                  <c:v>52.29</c:v>
                </c:pt>
                <c:pt idx="1">
                  <c:v>96.43</c:v>
                </c:pt>
                <c:pt idx="2">
                  <c:v>71.4</c:v>
                </c:pt>
                <c:pt idx="3">
                  <c:v>40.0</c:v>
                </c:pt>
                <c:pt idx="4">
                  <c:v>44.68</c:v>
                </c:pt>
                <c:pt idx="5">
                  <c:v>172.9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44</a:t>
                    </a:r>
                  </a:p>
                </c:rich>
              </c:tx>
              <c:dLblPos val="l"/>
              <c:showLegendKey val="0"/>
              <c:showVal val="1"/>
              <c:showCatName val="0"/>
              <c:showSerName val="0"/>
              <c:showPercent val="0"/>
              <c:showBubbleSize val="0"/>
            </c:dLbl>
            <c:dLbl>
              <c:idx val="1"/>
              <c:tx>
                <c:rich>
                  <a:bodyPr/>
                  <a:lstStyle/>
                  <a:p>
                    <a:r>
                      <a:t>IX 42</a:t>
                    </a:r>
                  </a:p>
                  <a:p>
                    <a:r>
                      <a:t>54.15</a:t>
                    </a:r>
                  </a:p>
                </c:rich>
              </c:tx>
              <c:dLblPos val="l"/>
              <c:showLegendKey val="0"/>
              <c:showVal val="1"/>
              <c:showCatName val="0"/>
              <c:showSerName val="0"/>
              <c:showPercent val="0"/>
              <c:showBubbleSize val="0"/>
            </c:dLbl>
            <c:dLbl>
              <c:idx val="2"/>
              <c:tx>
                <c:rich>
                  <a:bodyPr/>
                  <a:lstStyle/>
                  <a:p>
                    <a:r>
                      <a:t>IX 31</a:t>
                    </a:r>
                  </a:p>
                  <a:p>
                    <a:r>
                      <a:t>38.49</a:t>
                    </a:r>
                  </a:p>
                </c:rich>
              </c:tx>
              <c:dLblPos val="l"/>
              <c:showLegendKey val="0"/>
              <c:showVal val="1"/>
              <c:showCatName val="0"/>
              <c:showSerName val="0"/>
              <c:showPercent val="0"/>
              <c:showBubbleSize val="0"/>
            </c:dLbl>
            <c:dLbl>
              <c:idx val="3"/>
              <c:tx>
                <c:rich>
                  <a:bodyPr/>
                  <a:lstStyle/>
                  <a:p>
                    <a:r>
                      <a:t>IX 111</a:t>
                    </a:r>
                  </a:p>
                  <a:p>
                    <a:r>
                      <a:t>43.69</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C$2:$C$7</c:f>
              <c:numCache>
                <c:formatCode>General</c:formatCode>
                <c:ptCount val="6"/>
                <c:pt idx="0">
                  <c:v>29.44</c:v>
                </c:pt>
                <c:pt idx="1">
                  <c:v>54.15</c:v>
                </c:pt>
                <c:pt idx="2">
                  <c:v>38.49</c:v>
                </c:pt>
                <c:pt idx="3">
                  <c:v>43.6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D$2:$D$7</c:f>
              <c:numCache>
                <c:formatCode>General</c:formatCode>
                <c:ptCount val="6"/>
                <c:pt idx="0">
                  <c:v>75.43</c:v>
                </c:pt>
                <c:pt idx="1">
                  <c:v>129.85</c:v>
                </c:pt>
                <c:pt idx="2">
                  <c:v>124.29</c:v>
                </c:pt>
                <c:pt idx="5">
                  <c:v>119.9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E$2:$E$7</c:f>
              <c:numCache>
                <c:formatCode>General</c:formatCode>
                <c:ptCount val="6"/>
                <c:pt idx="0">
                  <c:v>47.44</c:v>
                </c:pt>
                <c:pt idx="2">
                  <c:v>50.51</c:v>
                </c:pt>
                <c:pt idx="4">
                  <c:v>4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F$2:$F$7</c:f>
              <c:numCache>
                <c:formatCode>General</c:formatCode>
                <c:ptCount val="6"/>
                <c:pt idx="1">
                  <c:v>47.17</c:v>
                </c:pt>
                <c:pt idx="2">
                  <c:v>48.34</c:v>
                </c:pt>
                <c:pt idx="3">
                  <c:v>39.5</c:v>
                </c:pt>
                <c:pt idx="5">
                  <c:v>50.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4218"/>
          <c:min val="28.94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2/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2/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696746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4589379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0608619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7699404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249709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2456981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3842255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519533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4953335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381070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0009417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81779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4436060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683256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259230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9458155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461630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6.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687629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575852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7999263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464080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3284444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714028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16315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1082010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1699488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6632783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1342891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869497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4995401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450433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926966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6808764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06377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945504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239600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6.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9061981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300029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5215121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7578787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6316765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47104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661556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09061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71960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32888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777583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56095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138561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458207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035253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553592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90245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72165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49520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31523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68748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3467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78836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23494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392787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017172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86249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55124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354910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38195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90901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86942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992850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718006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155205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74478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934774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049241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2804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738501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86830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796601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35588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25807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51105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100355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034196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72267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59730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412195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614667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350501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385845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372097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208396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42087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940767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554097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76481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270465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0311616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97390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53405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127541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431643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8748837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58262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45578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81417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221702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531106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240445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9366143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4308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790141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163990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726953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16226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22579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6.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0918695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5665873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885682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993971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2330945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817605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7544668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155559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199700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300794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302430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8297486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405528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76542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8129665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479565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2814024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5440438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6.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735369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947797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87473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3464</Words>
  <Application>Microsoft Office PowerPoint</Application>
  <PresentationFormat>On-screen Show (16:9)</PresentationFormat>
  <Paragraphs>2856</Paragraphs>
  <Slides>136</Slides>
  <Notes>13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36</vt:i4>
      </vt:variant>
    </vt:vector>
  </HeadingPairs>
  <TitlesOfParts>
    <vt:vector size="146"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55</cp:revision>
  <dcterms:created xsi:type="dcterms:W3CDTF">2024-07-05T14:56:51Z</dcterms:created>
  <dcterms:modified xsi:type="dcterms:W3CDTF">2025-09-02T07:3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